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84" r:id="rId5"/>
    <p:sldMasterId id="2147483838" r:id="rId6"/>
    <p:sldMasterId id="2147483858" r:id="rId7"/>
  </p:sldMasterIdLst>
  <p:notesMasterIdLst>
    <p:notesMasterId r:id="rId14"/>
  </p:notesMasterIdLst>
  <p:handoutMasterIdLst>
    <p:handoutMasterId r:id="rId15"/>
  </p:handoutMasterIdLst>
  <p:sldIdLst>
    <p:sldId id="406" r:id="rId8"/>
    <p:sldId id="410" r:id="rId9"/>
    <p:sldId id="407" r:id="rId10"/>
    <p:sldId id="408" r:id="rId11"/>
    <p:sldId id="409"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36E211-97D4-4CE3-8487-DD7A1F93DB8E}" v="121" dt="2020-06-01T00:20:49.7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67" d="100"/>
          <a:sy n="67" d="100"/>
        </p:scale>
        <p:origin x="644"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1" d="100"/>
          <a:sy n="51" d="100"/>
        </p:scale>
        <p:origin x="2692" y="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ynolds, Morgan W" userId="3f4164b4-5409-4990-8772-99c8029ca02a" providerId="ADAL" clId="{9636E211-97D4-4CE3-8487-DD7A1F93DB8E}"/>
    <pc:docChg chg="undo custSel addSld delSld modSld sldOrd modMainMaster">
      <pc:chgData name="Reynolds, Morgan W" userId="3f4164b4-5409-4990-8772-99c8029ca02a" providerId="ADAL" clId="{9636E211-97D4-4CE3-8487-DD7A1F93DB8E}" dt="2020-06-01T00:20:49.791" v="719" actId="1076"/>
      <pc:docMkLst>
        <pc:docMk/>
      </pc:docMkLst>
      <pc:sldChg chg="addSp delSp modSp del">
        <pc:chgData name="Reynolds, Morgan W" userId="3f4164b4-5409-4990-8772-99c8029ca02a" providerId="ADAL" clId="{9636E211-97D4-4CE3-8487-DD7A1F93DB8E}" dt="2020-05-31T23:23:24.327" v="144" actId="2696"/>
        <pc:sldMkLst>
          <pc:docMk/>
          <pc:sldMk cId="0" sldId="267"/>
        </pc:sldMkLst>
        <pc:spChg chg="add del mod">
          <ac:chgData name="Reynolds, Morgan W" userId="3f4164b4-5409-4990-8772-99c8029ca02a" providerId="ADAL" clId="{9636E211-97D4-4CE3-8487-DD7A1F93DB8E}" dt="2020-05-31T23:20:45.024" v="81" actId="478"/>
          <ac:spMkLst>
            <pc:docMk/>
            <pc:sldMk cId="0" sldId="267"/>
            <ac:spMk id="3" creationId="{391F8FB3-DC09-4E33-BB88-D89465848BA2}"/>
          </ac:spMkLst>
        </pc:spChg>
        <pc:spChg chg="mod">
          <ac:chgData name="Reynolds, Morgan W" userId="3f4164b4-5409-4990-8772-99c8029ca02a" providerId="ADAL" clId="{9636E211-97D4-4CE3-8487-DD7A1F93DB8E}" dt="2020-05-31T23:21:47.630" v="103" actId="14100"/>
          <ac:spMkLst>
            <pc:docMk/>
            <pc:sldMk cId="0" sldId="267"/>
            <ac:spMk id="5" creationId="{00000000-0000-0000-0000-000000000000}"/>
          </ac:spMkLst>
        </pc:spChg>
        <pc:spChg chg="del mod">
          <ac:chgData name="Reynolds, Morgan W" userId="3f4164b4-5409-4990-8772-99c8029ca02a" providerId="ADAL" clId="{9636E211-97D4-4CE3-8487-DD7A1F93DB8E}" dt="2020-05-31T23:20:42.326" v="80" actId="478"/>
          <ac:spMkLst>
            <pc:docMk/>
            <pc:sldMk cId="0" sldId="267"/>
            <ac:spMk id="6" creationId="{00000000-0000-0000-0000-000000000000}"/>
          </ac:spMkLst>
        </pc:spChg>
        <pc:spChg chg="mod">
          <ac:chgData name="Reynolds, Morgan W" userId="3f4164b4-5409-4990-8772-99c8029ca02a" providerId="ADAL" clId="{9636E211-97D4-4CE3-8487-DD7A1F93DB8E}" dt="2020-05-31T23:22:00.339" v="107" actId="1076"/>
          <ac:spMkLst>
            <pc:docMk/>
            <pc:sldMk cId="0" sldId="267"/>
            <ac:spMk id="7" creationId="{00000000-0000-0000-0000-000000000000}"/>
          </ac:spMkLst>
        </pc:spChg>
        <pc:spChg chg="mod">
          <ac:chgData name="Reynolds, Morgan W" userId="3f4164b4-5409-4990-8772-99c8029ca02a" providerId="ADAL" clId="{9636E211-97D4-4CE3-8487-DD7A1F93DB8E}" dt="2020-05-31T23:21:50.788" v="104" actId="1076"/>
          <ac:spMkLst>
            <pc:docMk/>
            <pc:sldMk cId="0" sldId="267"/>
            <ac:spMk id="8" creationId="{00000000-0000-0000-0000-000000000000}"/>
          </ac:spMkLst>
        </pc:spChg>
        <pc:spChg chg="mod">
          <ac:chgData name="Reynolds, Morgan W" userId="3f4164b4-5409-4990-8772-99c8029ca02a" providerId="ADAL" clId="{9636E211-97D4-4CE3-8487-DD7A1F93DB8E}" dt="2020-05-31T23:22:05.546" v="108" actId="1076"/>
          <ac:spMkLst>
            <pc:docMk/>
            <pc:sldMk cId="0" sldId="267"/>
            <ac:spMk id="9" creationId="{00000000-0000-0000-0000-000000000000}"/>
          </ac:spMkLst>
        </pc:spChg>
        <pc:spChg chg="mod">
          <ac:chgData name="Reynolds, Morgan W" userId="3f4164b4-5409-4990-8772-99c8029ca02a" providerId="ADAL" clId="{9636E211-97D4-4CE3-8487-DD7A1F93DB8E}" dt="2020-05-31T23:19:24.545" v="56" actId="20577"/>
          <ac:spMkLst>
            <pc:docMk/>
            <pc:sldMk cId="0" sldId="267"/>
            <ac:spMk id="10" creationId="{00000000-0000-0000-0000-000000000000}"/>
          </ac:spMkLst>
        </pc:spChg>
        <pc:cxnChg chg="mod">
          <ac:chgData name="Reynolds, Morgan W" userId="3f4164b4-5409-4990-8772-99c8029ca02a" providerId="ADAL" clId="{9636E211-97D4-4CE3-8487-DD7A1F93DB8E}" dt="2020-05-31T23:21:57.073" v="106" actId="1076"/>
          <ac:cxnSpMkLst>
            <pc:docMk/>
            <pc:sldMk cId="0" sldId="267"/>
            <ac:cxnSpMk id="14" creationId="{00000000-0000-0000-0000-000000000000}"/>
          </ac:cxnSpMkLst>
        </pc:cxnChg>
        <pc:cxnChg chg="mod">
          <ac:chgData name="Reynolds, Morgan W" userId="3f4164b4-5409-4990-8772-99c8029ca02a" providerId="ADAL" clId="{9636E211-97D4-4CE3-8487-DD7A1F93DB8E}" dt="2020-05-31T23:21:36.375" v="100" actId="1076"/>
          <ac:cxnSpMkLst>
            <pc:docMk/>
            <pc:sldMk cId="0" sldId="267"/>
            <ac:cxnSpMk id="15" creationId="{00000000-0000-0000-0000-000000000000}"/>
          </ac:cxnSpMkLst>
        </pc:cxnChg>
      </pc:sldChg>
      <pc:sldChg chg="addSp delSp">
        <pc:chgData name="Reynolds, Morgan W" userId="3f4164b4-5409-4990-8772-99c8029ca02a" providerId="ADAL" clId="{9636E211-97D4-4CE3-8487-DD7A1F93DB8E}" dt="2020-05-31T23:16:32.386" v="5"/>
        <pc:sldMkLst>
          <pc:docMk/>
          <pc:sldMk cId="0" sldId="273"/>
        </pc:sldMkLst>
        <pc:spChg chg="add del">
          <ac:chgData name="Reynolds, Morgan W" userId="3f4164b4-5409-4990-8772-99c8029ca02a" providerId="ADAL" clId="{9636E211-97D4-4CE3-8487-DD7A1F93DB8E}" dt="2020-05-31T23:16:32.386" v="5"/>
          <ac:spMkLst>
            <pc:docMk/>
            <pc:sldMk cId="0" sldId="273"/>
            <ac:spMk id="2" creationId="{B0D847B1-9FAD-4899-9948-FE2BD42461B3}"/>
          </ac:spMkLst>
        </pc:spChg>
      </pc:sldChg>
      <pc:sldChg chg="del">
        <pc:chgData name="Reynolds, Morgan W" userId="3f4164b4-5409-4990-8772-99c8029ca02a" providerId="ADAL" clId="{9636E211-97D4-4CE3-8487-DD7A1F93DB8E}" dt="2020-05-31T23:22:09.424" v="109" actId="2696"/>
        <pc:sldMkLst>
          <pc:docMk/>
          <pc:sldMk cId="1244247285" sldId="405"/>
        </pc:sldMkLst>
      </pc:sldChg>
      <pc:sldChg chg="addSp modSp">
        <pc:chgData name="Reynolds, Morgan W" userId="3f4164b4-5409-4990-8772-99c8029ca02a" providerId="ADAL" clId="{9636E211-97D4-4CE3-8487-DD7A1F93DB8E}" dt="2020-05-31T23:45:23.206" v="563" actId="1076"/>
        <pc:sldMkLst>
          <pc:docMk/>
          <pc:sldMk cId="3321263822" sldId="406"/>
        </pc:sldMkLst>
        <pc:spChg chg="mod">
          <ac:chgData name="Reynolds, Morgan W" userId="3f4164b4-5409-4990-8772-99c8029ca02a" providerId="ADAL" clId="{9636E211-97D4-4CE3-8487-DD7A1F93DB8E}" dt="2020-05-31T23:39:13.508" v="444" actId="20577"/>
          <ac:spMkLst>
            <pc:docMk/>
            <pc:sldMk cId="3321263822" sldId="406"/>
            <ac:spMk id="2" creationId="{0937529C-A58F-4FE3-84BF-7544BEA96422}"/>
          </ac:spMkLst>
        </pc:spChg>
        <pc:spChg chg="mod">
          <ac:chgData name="Reynolds, Morgan W" userId="3f4164b4-5409-4990-8772-99c8029ca02a" providerId="ADAL" clId="{9636E211-97D4-4CE3-8487-DD7A1F93DB8E}" dt="2020-05-31T23:39:19.070" v="448" actId="20577"/>
          <ac:spMkLst>
            <pc:docMk/>
            <pc:sldMk cId="3321263822" sldId="406"/>
            <ac:spMk id="3" creationId="{25F950C6-5C12-46EA-B2FB-353B1D83297C}"/>
          </ac:spMkLst>
        </pc:spChg>
        <pc:picChg chg="add mod">
          <ac:chgData name="Reynolds, Morgan W" userId="3f4164b4-5409-4990-8772-99c8029ca02a" providerId="ADAL" clId="{9636E211-97D4-4CE3-8487-DD7A1F93DB8E}" dt="2020-05-31T23:45:23.206" v="563" actId="1076"/>
          <ac:picMkLst>
            <pc:docMk/>
            <pc:sldMk cId="3321263822" sldId="406"/>
            <ac:picMk id="4" creationId="{A4A0DBA6-6662-4212-A01D-7D8E3A94A992}"/>
          </ac:picMkLst>
        </pc:picChg>
      </pc:sldChg>
      <pc:sldChg chg="del">
        <pc:chgData name="Reynolds, Morgan W" userId="3f4164b4-5409-4990-8772-99c8029ca02a" providerId="ADAL" clId="{9636E211-97D4-4CE3-8487-DD7A1F93DB8E}" dt="2020-05-31T23:22:09.742" v="110" actId="2696"/>
        <pc:sldMkLst>
          <pc:docMk/>
          <pc:sldMk cId="2879607345" sldId="407"/>
        </pc:sldMkLst>
      </pc:sldChg>
      <pc:sldChg chg="addSp delSp modSp add">
        <pc:chgData name="Reynolds, Morgan W" userId="3f4164b4-5409-4990-8772-99c8029ca02a" providerId="ADAL" clId="{9636E211-97D4-4CE3-8487-DD7A1F93DB8E}" dt="2020-06-01T00:20:36.127" v="715"/>
        <pc:sldMkLst>
          <pc:docMk/>
          <pc:sldMk cId="2934040444" sldId="407"/>
        </pc:sldMkLst>
        <pc:spChg chg="add del mod">
          <ac:chgData name="Reynolds, Morgan W" userId="3f4164b4-5409-4990-8772-99c8029ca02a" providerId="ADAL" clId="{9636E211-97D4-4CE3-8487-DD7A1F93DB8E}" dt="2020-05-31T23:22:54.911" v="135" actId="478"/>
          <ac:spMkLst>
            <pc:docMk/>
            <pc:sldMk cId="2934040444" sldId="407"/>
            <ac:spMk id="3" creationId="{163DBC81-C2B0-48C9-BA27-945DF7F31CE5}"/>
          </ac:spMkLst>
        </pc:spChg>
        <pc:spChg chg="mod">
          <ac:chgData name="Reynolds, Morgan W" userId="3f4164b4-5409-4990-8772-99c8029ca02a" providerId="ADAL" clId="{9636E211-97D4-4CE3-8487-DD7A1F93DB8E}" dt="2020-05-31T23:38:12.352" v="417" actId="20577"/>
          <ac:spMkLst>
            <pc:docMk/>
            <pc:sldMk cId="2934040444" sldId="407"/>
            <ac:spMk id="4" creationId="{00000000-0000-0000-0000-000000000000}"/>
          </ac:spMkLst>
        </pc:spChg>
        <pc:spChg chg="mod">
          <ac:chgData name="Reynolds, Morgan W" userId="3f4164b4-5409-4990-8772-99c8029ca02a" providerId="ADAL" clId="{9636E211-97D4-4CE3-8487-DD7A1F93DB8E}" dt="2020-05-31T23:50:14.792" v="614" actId="554"/>
          <ac:spMkLst>
            <pc:docMk/>
            <pc:sldMk cId="2934040444" sldId="407"/>
            <ac:spMk id="5" creationId="{00000000-0000-0000-0000-000000000000}"/>
          </ac:spMkLst>
        </pc:spChg>
        <pc:spChg chg="del mod">
          <ac:chgData name="Reynolds, Morgan W" userId="3f4164b4-5409-4990-8772-99c8029ca02a" providerId="ADAL" clId="{9636E211-97D4-4CE3-8487-DD7A1F93DB8E}" dt="2020-05-31T23:22:53.012" v="134" actId="478"/>
          <ac:spMkLst>
            <pc:docMk/>
            <pc:sldMk cId="2934040444" sldId="407"/>
            <ac:spMk id="7" creationId="{00000000-0000-0000-0000-000000000000}"/>
          </ac:spMkLst>
        </pc:spChg>
        <pc:spChg chg="del mod">
          <ac:chgData name="Reynolds, Morgan W" userId="3f4164b4-5409-4990-8772-99c8029ca02a" providerId="ADAL" clId="{9636E211-97D4-4CE3-8487-DD7A1F93DB8E}" dt="2020-05-31T23:47:03.182" v="571" actId="478"/>
          <ac:spMkLst>
            <pc:docMk/>
            <pc:sldMk cId="2934040444" sldId="407"/>
            <ac:spMk id="8" creationId="{00000000-0000-0000-0000-000000000000}"/>
          </ac:spMkLst>
        </pc:spChg>
        <pc:spChg chg="del">
          <ac:chgData name="Reynolds, Morgan W" userId="3f4164b4-5409-4990-8772-99c8029ca02a" providerId="ADAL" clId="{9636E211-97D4-4CE3-8487-DD7A1F93DB8E}" dt="2020-05-31T23:23:55.229" v="153" actId="478"/>
          <ac:spMkLst>
            <pc:docMk/>
            <pc:sldMk cId="2934040444" sldId="407"/>
            <ac:spMk id="9" creationId="{00000000-0000-0000-0000-000000000000}"/>
          </ac:spMkLst>
        </pc:spChg>
        <pc:spChg chg="del">
          <ac:chgData name="Reynolds, Morgan W" userId="3f4164b4-5409-4990-8772-99c8029ca02a" providerId="ADAL" clId="{9636E211-97D4-4CE3-8487-DD7A1F93DB8E}" dt="2020-05-31T23:23:57.594" v="155" actId="478"/>
          <ac:spMkLst>
            <pc:docMk/>
            <pc:sldMk cId="2934040444" sldId="407"/>
            <ac:spMk id="10" creationId="{00000000-0000-0000-0000-000000000000}"/>
          </ac:spMkLst>
        </pc:spChg>
        <pc:spChg chg="add del mod">
          <ac:chgData name="Reynolds, Morgan W" userId="3f4164b4-5409-4990-8772-99c8029ca02a" providerId="ADAL" clId="{9636E211-97D4-4CE3-8487-DD7A1F93DB8E}" dt="2020-05-31T23:23:56.289" v="154" actId="478"/>
          <ac:spMkLst>
            <pc:docMk/>
            <pc:sldMk cId="2934040444" sldId="407"/>
            <ac:spMk id="11" creationId="{46E8EFA0-92BF-4BBE-854B-BCD8329A2CD6}"/>
          </ac:spMkLst>
        </pc:spChg>
        <pc:spChg chg="add del mod">
          <ac:chgData name="Reynolds, Morgan W" userId="3f4164b4-5409-4990-8772-99c8029ca02a" providerId="ADAL" clId="{9636E211-97D4-4CE3-8487-DD7A1F93DB8E}" dt="2020-05-31T23:24:00.410" v="156" actId="478"/>
          <ac:spMkLst>
            <pc:docMk/>
            <pc:sldMk cId="2934040444" sldId="407"/>
            <ac:spMk id="13" creationId="{4BA2251E-1871-4E58-B800-B10FEF4BCF5B}"/>
          </ac:spMkLst>
        </pc:spChg>
        <pc:spChg chg="add del">
          <ac:chgData name="Reynolds, Morgan W" userId="3f4164b4-5409-4990-8772-99c8029ca02a" providerId="ADAL" clId="{9636E211-97D4-4CE3-8487-DD7A1F93DB8E}" dt="2020-05-31T23:24:21.701" v="158"/>
          <ac:spMkLst>
            <pc:docMk/>
            <pc:sldMk cId="2934040444" sldId="407"/>
            <ac:spMk id="16" creationId="{84B409CB-D3C9-4CEC-881B-66F86A22AA79}"/>
          </ac:spMkLst>
        </pc:spChg>
        <pc:spChg chg="add mod">
          <ac:chgData name="Reynolds, Morgan W" userId="3f4164b4-5409-4990-8772-99c8029ca02a" providerId="ADAL" clId="{9636E211-97D4-4CE3-8487-DD7A1F93DB8E}" dt="2020-05-31T23:50:18.872" v="615" actId="20577"/>
          <ac:spMkLst>
            <pc:docMk/>
            <pc:sldMk cId="2934040444" sldId="407"/>
            <ac:spMk id="17" creationId="{ED868C45-5082-4168-9737-D52018575DA0}"/>
          </ac:spMkLst>
        </pc:spChg>
        <pc:spChg chg="add del mod">
          <ac:chgData name="Reynolds, Morgan W" userId="3f4164b4-5409-4990-8772-99c8029ca02a" providerId="ADAL" clId="{9636E211-97D4-4CE3-8487-DD7A1F93DB8E}" dt="2020-05-31T23:47:05.785" v="572" actId="478"/>
          <ac:spMkLst>
            <pc:docMk/>
            <pc:sldMk cId="2934040444" sldId="407"/>
            <ac:spMk id="19" creationId="{3DE23F3C-7378-4DD8-B52F-138DDE2DD4E7}"/>
          </ac:spMkLst>
        </pc:spChg>
        <pc:spChg chg="add">
          <ac:chgData name="Reynolds, Morgan W" userId="3f4164b4-5409-4990-8772-99c8029ca02a" providerId="ADAL" clId="{9636E211-97D4-4CE3-8487-DD7A1F93DB8E}" dt="2020-05-31T23:47:11.019" v="573"/>
          <ac:spMkLst>
            <pc:docMk/>
            <pc:sldMk cId="2934040444" sldId="407"/>
            <ac:spMk id="20" creationId="{A28700A5-93F0-4091-BA69-4630D327CD04}"/>
          </ac:spMkLst>
        </pc:spChg>
        <pc:grpChg chg="add del mod">
          <ac:chgData name="Reynolds, Morgan W" userId="3f4164b4-5409-4990-8772-99c8029ca02a" providerId="ADAL" clId="{9636E211-97D4-4CE3-8487-DD7A1F93DB8E}" dt="2020-06-01T00:16:49.602" v="695" actId="478"/>
          <ac:grpSpMkLst>
            <pc:docMk/>
            <pc:sldMk cId="2934040444" sldId="407"/>
            <ac:grpSpMk id="21" creationId="{83B135AC-EA04-4990-9951-9DE899F21E2C}"/>
          </ac:grpSpMkLst>
        </pc:grpChg>
        <pc:grpChg chg="mod">
          <ac:chgData name="Reynolds, Morgan W" userId="3f4164b4-5409-4990-8772-99c8029ca02a" providerId="ADAL" clId="{9636E211-97D4-4CE3-8487-DD7A1F93DB8E}" dt="2020-06-01T00:15:29.705" v="690" actId="1076"/>
          <ac:grpSpMkLst>
            <pc:docMk/>
            <pc:sldMk cId="2934040444" sldId="407"/>
            <ac:grpSpMk id="23" creationId="{54A73B47-B534-4ABB-BC9D-6C349BDFCFE8}"/>
          </ac:grpSpMkLst>
        </pc:grpChg>
        <pc:picChg chg="add">
          <ac:chgData name="Reynolds, Morgan W" userId="3f4164b4-5409-4990-8772-99c8029ca02a" providerId="ADAL" clId="{9636E211-97D4-4CE3-8487-DD7A1F93DB8E}" dt="2020-06-01T00:20:36.127" v="715"/>
          <ac:picMkLst>
            <pc:docMk/>
            <pc:sldMk cId="2934040444" sldId="407"/>
            <ac:picMk id="43" creationId="{01E6E353-AA40-4E92-88AD-28F98148BA13}"/>
          </ac:picMkLst>
        </pc:picChg>
        <pc:cxnChg chg="del">
          <ac:chgData name="Reynolds, Morgan W" userId="3f4164b4-5409-4990-8772-99c8029ca02a" providerId="ADAL" clId="{9636E211-97D4-4CE3-8487-DD7A1F93DB8E}" dt="2020-05-31T23:22:55.688" v="136" actId="478"/>
          <ac:cxnSpMkLst>
            <pc:docMk/>
            <pc:sldMk cId="2934040444" sldId="407"/>
            <ac:cxnSpMk id="14" creationId="{00000000-0000-0000-0000-000000000000}"/>
          </ac:cxnSpMkLst>
        </pc:cxnChg>
        <pc:cxnChg chg="del">
          <ac:chgData name="Reynolds, Morgan W" userId="3f4164b4-5409-4990-8772-99c8029ca02a" providerId="ADAL" clId="{9636E211-97D4-4CE3-8487-DD7A1F93DB8E}" dt="2020-05-31T23:23:52.519" v="152" actId="478"/>
          <ac:cxnSpMkLst>
            <pc:docMk/>
            <pc:sldMk cId="2934040444" sldId="407"/>
            <ac:cxnSpMk id="15" creationId="{00000000-0000-0000-0000-000000000000}"/>
          </ac:cxnSpMkLst>
        </pc:cxnChg>
      </pc:sldChg>
      <pc:sldChg chg="addSp delSp modSp add">
        <pc:chgData name="Reynolds, Morgan W" userId="3f4164b4-5409-4990-8772-99c8029ca02a" providerId="ADAL" clId="{9636E211-97D4-4CE3-8487-DD7A1F93DB8E}" dt="2020-06-01T00:20:42.256" v="717" actId="1076"/>
        <pc:sldMkLst>
          <pc:docMk/>
          <pc:sldMk cId="1212085709" sldId="408"/>
        </pc:sldMkLst>
        <pc:spChg chg="add del mod">
          <ac:chgData name="Reynolds, Morgan W" userId="3f4164b4-5409-4990-8772-99c8029ca02a" providerId="ADAL" clId="{9636E211-97D4-4CE3-8487-DD7A1F93DB8E}" dt="2020-05-31T23:23:35.145" v="148" actId="478"/>
          <ac:spMkLst>
            <pc:docMk/>
            <pc:sldMk cId="1212085709" sldId="408"/>
            <ac:spMk id="3" creationId="{F362A245-5761-4062-9900-A04B6499745D}"/>
          </ac:spMkLst>
        </pc:spChg>
        <pc:spChg chg="mod">
          <ac:chgData name="Reynolds, Morgan W" userId="3f4164b4-5409-4990-8772-99c8029ca02a" providerId="ADAL" clId="{9636E211-97D4-4CE3-8487-DD7A1F93DB8E}" dt="2020-05-31T23:38:18.793" v="421" actId="20577"/>
          <ac:spMkLst>
            <pc:docMk/>
            <pc:sldMk cId="1212085709" sldId="408"/>
            <ac:spMk id="4" creationId="{00000000-0000-0000-0000-000000000000}"/>
          </ac:spMkLst>
        </pc:spChg>
        <pc:spChg chg="del">
          <ac:chgData name="Reynolds, Morgan W" userId="3f4164b4-5409-4990-8772-99c8029ca02a" providerId="ADAL" clId="{9636E211-97D4-4CE3-8487-DD7A1F93DB8E}" dt="2020-05-31T23:23:31.820" v="146" actId="478"/>
          <ac:spMkLst>
            <pc:docMk/>
            <pc:sldMk cId="1212085709" sldId="408"/>
            <ac:spMk id="5" creationId="{00000000-0000-0000-0000-000000000000}"/>
          </ac:spMkLst>
        </pc:spChg>
        <pc:spChg chg="add del mod">
          <ac:chgData name="Reynolds, Morgan W" userId="3f4164b4-5409-4990-8772-99c8029ca02a" providerId="ADAL" clId="{9636E211-97D4-4CE3-8487-DD7A1F93DB8E}" dt="2020-05-31T23:23:36.010" v="149" actId="478"/>
          <ac:spMkLst>
            <pc:docMk/>
            <pc:sldMk cId="1212085709" sldId="408"/>
            <ac:spMk id="7" creationId="{D18B1494-F568-40CA-B0A5-5309C9828057}"/>
          </ac:spMkLst>
        </pc:spChg>
        <pc:spChg chg="del">
          <ac:chgData name="Reynolds, Morgan W" userId="3f4164b4-5409-4990-8772-99c8029ca02a" providerId="ADAL" clId="{9636E211-97D4-4CE3-8487-DD7A1F93DB8E}" dt="2020-05-31T23:23:33.375" v="147" actId="478"/>
          <ac:spMkLst>
            <pc:docMk/>
            <pc:sldMk cId="1212085709" sldId="408"/>
            <ac:spMk id="8" creationId="{00000000-0000-0000-0000-000000000000}"/>
          </ac:spMkLst>
        </pc:spChg>
        <pc:spChg chg="mod">
          <ac:chgData name="Reynolds, Morgan W" userId="3f4164b4-5409-4990-8772-99c8029ca02a" providerId="ADAL" clId="{9636E211-97D4-4CE3-8487-DD7A1F93DB8E}" dt="2020-05-31T23:55:10.317" v="666" actId="1035"/>
          <ac:spMkLst>
            <pc:docMk/>
            <pc:sldMk cId="1212085709" sldId="408"/>
            <ac:spMk id="9" creationId="{00000000-0000-0000-0000-000000000000}"/>
          </ac:spMkLst>
        </pc:spChg>
        <pc:spChg chg="del mod">
          <ac:chgData name="Reynolds, Morgan W" userId="3f4164b4-5409-4990-8772-99c8029ca02a" providerId="ADAL" clId="{9636E211-97D4-4CE3-8487-DD7A1F93DB8E}" dt="2020-05-31T23:49:52.875" v="608" actId="478"/>
          <ac:spMkLst>
            <pc:docMk/>
            <pc:sldMk cId="1212085709" sldId="408"/>
            <ac:spMk id="10" creationId="{00000000-0000-0000-0000-000000000000}"/>
          </ac:spMkLst>
        </pc:spChg>
        <pc:spChg chg="add mod">
          <ac:chgData name="Reynolds, Morgan W" userId="3f4164b4-5409-4990-8772-99c8029ca02a" providerId="ADAL" clId="{9636E211-97D4-4CE3-8487-DD7A1F93DB8E}" dt="2020-05-31T23:55:10.317" v="666" actId="1035"/>
          <ac:spMkLst>
            <pc:docMk/>
            <pc:sldMk cId="1212085709" sldId="408"/>
            <ac:spMk id="12" creationId="{7AD75D9B-5790-4167-B441-38B06A7413FD}"/>
          </ac:spMkLst>
        </pc:spChg>
        <pc:spChg chg="add del mod">
          <ac:chgData name="Reynolds, Morgan W" userId="3f4164b4-5409-4990-8772-99c8029ca02a" providerId="ADAL" clId="{9636E211-97D4-4CE3-8487-DD7A1F93DB8E}" dt="2020-05-31T23:50:26.528" v="616" actId="478"/>
          <ac:spMkLst>
            <pc:docMk/>
            <pc:sldMk cId="1212085709" sldId="408"/>
            <ac:spMk id="13" creationId="{2A2778D6-45DB-40D2-A44B-994FD1883433}"/>
          </ac:spMkLst>
        </pc:spChg>
        <pc:spChg chg="add del">
          <ac:chgData name="Reynolds, Morgan W" userId="3f4164b4-5409-4990-8772-99c8029ca02a" providerId="ADAL" clId="{9636E211-97D4-4CE3-8487-DD7A1F93DB8E}" dt="2020-05-31T23:52:42.173" v="628" actId="478"/>
          <ac:spMkLst>
            <pc:docMk/>
            <pc:sldMk cId="1212085709" sldId="408"/>
            <ac:spMk id="16" creationId="{DEDBB006-0824-4420-ABA9-6404F748979A}"/>
          </ac:spMkLst>
        </pc:spChg>
        <pc:spChg chg="add mod">
          <ac:chgData name="Reynolds, Morgan W" userId="3f4164b4-5409-4990-8772-99c8029ca02a" providerId="ADAL" clId="{9636E211-97D4-4CE3-8487-DD7A1F93DB8E}" dt="2020-05-31T23:52:44.682" v="629" actId="313"/>
          <ac:spMkLst>
            <pc:docMk/>
            <pc:sldMk cId="1212085709" sldId="408"/>
            <ac:spMk id="17" creationId="{B67B31AF-C06A-4DF0-8366-2088EC4234D9}"/>
          </ac:spMkLst>
        </pc:spChg>
        <pc:picChg chg="add mod">
          <ac:chgData name="Reynolds, Morgan W" userId="3f4164b4-5409-4990-8772-99c8029ca02a" providerId="ADAL" clId="{9636E211-97D4-4CE3-8487-DD7A1F93DB8E}" dt="2020-06-01T00:20:42.256" v="717" actId="1076"/>
          <ac:picMkLst>
            <pc:docMk/>
            <pc:sldMk cId="1212085709" sldId="408"/>
            <ac:picMk id="18" creationId="{57264C86-0DAC-4664-AFEB-A5E1BBDBAEE4}"/>
          </ac:picMkLst>
        </pc:picChg>
        <pc:cxnChg chg="del mod">
          <ac:chgData name="Reynolds, Morgan W" userId="3f4164b4-5409-4990-8772-99c8029ca02a" providerId="ADAL" clId="{9636E211-97D4-4CE3-8487-DD7A1F93DB8E}" dt="2020-05-31T23:23:49.893" v="151" actId="478"/>
          <ac:cxnSpMkLst>
            <pc:docMk/>
            <pc:sldMk cId="1212085709" sldId="408"/>
            <ac:cxnSpMk id="15" creationId="{00000000-0000-0000-0000-000000000000}"/>
          </ac:cxnSpMkLst>
        </pc:cxnChg>
      </pc:sldChg>
      <pc:sldChg chg="addSp delSp modSp del">
        <pc:chgData name="Reynolds, Morgan W" userId="3f4164b4-5409-4990-8772-99c8029ca02a" providerId="ADAL" clId="{9636E211-97D4-4CE3-8487-DD7A1F93DB8E}" dt="2020-05-31T23:22:13.002" v="111" actId="2696"/>
        <pc:sldMkLst>
          <pc:docMk/>
          <pc:sldMk cId="1717697372" sldId="408"/>
        </pc:sldMkLst>
        <pc:spChg chg="add del mod">
          <ac:chgData name="Reynolds, Morgan W" userId="3f4164b4-5409-4990-8772-99c8029ca02a" providerId="ADAL" clId="{9636E211-97D4-4CE3-8487-DD7A1F93DB8E}" dt="2020-05-31T23:16:41.537" v="8" actId="478"/>
          <ac:spMkLst>
            <pc:docMk/>
            <pc:sldMk cId="1717697372" sldId="408"/>
            <ac:spMk id="3" creationId="{476CF7BC-F6E2-413A-90E7-1AFB1ED902C5}"/>
          </ac:spMkLst>
        </pc:spChg>
        <pc:spChg chg="del">
          <ac:chgData name="Reynolds, Morgan W" userId="3f4164b4-5409-4990-8772-99c8029ca02a" providerId="ADAL" clId="{9636E211-97D4-4CE3-8487-DD7A1F93DB8E}" dt="2020-05-31T23:16:39.530" v="7" actId="478"/>
          <ac:spMkLst>
            <pc:docMk/>
            <pc:sldMk cId="1717697372" sldId="408"/>
            <ac:spMk id="5" creationId="{00000000-0000-0000-0000-000000000000}"/>
          </ac:spMkLst>
        </pc:spChg>
        <pc:spChg chg="mod">
          <ac:chgData name="Reynolds, Morgan W" userId="3f4164b4-5409-4990-8772-99c8029ca02a" providerId="ADAL" clId="{9636E211-97D4-4CE3-8487-DD7A1F93DB8E}" dt="2020-05-31T23:17:45.037" v="20" actId="14100"/>
          <ac:spMkLst>
            <pc:docMk/>
            <pc:sldMk cId="1717697372" sldId="408"/>
            <ac:spMk id="7" creationId="{00000000-0000-0000-0000-000000000000}"/>
          </ac:spMkLst>
        </pc:spChg>
        <pc:spChg chg="del">
          <ac:chgData name="Reynolds, Morgan W" userId="3f4164b4-5409-4990-8772-99c8029ca02a" providerId="ADAL" clId="{9636E211-97D4-4CE3-8487-DD7A1F93DB8E}" dt="2020-05-31T23:16:53.786" v="13" actId="478"/>
          <ac:spMkLst>
            <pc:docMk/>
            <pc:sldMk cId="1717697372" sldId="408"/>
            <ac:spMk id="9" creationId="{00000000-0000-0000-0000-000000000000}"/>
          </ac:spMkLst>
        </pc:spChg>
        <pc:spChg chg="add del mod">
          <ac:chgData name="Reynolds, Morgan W" userId="3f4164b4-5409-4990-8772-99c8029ca02a" providerId="ADAL" clId="{9636E211-97D4-4CE3-8487-DD7A1F93DB8E}" dt="2020-05-31T23:16:55.756" v="15" actId="478"/>
          <ac:spMkLst>
            <pc:docMk/>
            <pc:sldMk cId="1717697372" sldId="408"/>
            <ac:spMk id="12" creationId="{E00E38D1-3F13-4A9A-831E-0639D1576320}"/>
          </ac:spMkLst>
        </pc:spChg>
        <pc:cxnChg chg="del">
          <ac:chgData name="Reynolds, Morgan W" userId="3f4164b4-5409-4990-8772-99c8029ca02a" providerId="ADAL" clId="{9636E211-97D4-4CE3-8487-DD7A1F93DB8E}" dt="2020-05-31T23:16:42.560" v="9" actId="478"/>
          <ac:cxnSpMkLst>
            <pc:docMk/>
            <pc:sldMk cId="1717697372" sldId="408"/>
            <ac:cxnSpMk id="14" creationId="{00000000-0000-0000-0000-000000000000}"/>
          </ac:cxnSpMkLst>
        </pc:cxnChg>
        <pc:cxnChg chg="del">
          <ac:chgData name="Reynolds, Morgan W" userId="3f4164b4-5409-4990-8772-99c8029ca02a" providerId="ADAL" clId="{9636E211-97D4-4CE3-8487-DD7A1F93DB8E}" dt="2020-05-31T23:16:54.513" v="14" actId="478"/>
          <ac:cxnSpMkLst>
            <pc:docMk/>
            <pc:sldMk cId="1717697372" sldId="408"/>
            <ac:cxnSpMk id="15" creationId="{00000000-0000-0000-0000-000000000000}"/>
          </ac:cxnSpMkLst>
        </pc:cxnChg>
      </pc:sldChg>
      <pc:sldChg chg="addSp delSp modSp add">
        <pc:chgData name="Reynolds, Morgan W" userId="3f4164b4-5409-4990-8772-99c8029ca02a" providerId="ADAL" clId="{9636E211-97D4-4CE3-8487-DD7A1F93DB8E}" dt="2020-06-01T00:20:49.791" v="719" actId="1076"/>
        <pc:sldMkLst>
          <pc:docMk/>
          <pc:sldMk cId="436085927" sldId="409"/>
        </pc:sldMkLst>
        <pc:spChg chg="add del mod">
          <ac:chgData name="Reynolds, Morgan W" userId="3f4164b4-5409-4990-8772-99c8029ca02a" providerId="ADAL" clId="{9636E211-97D4-4CE3-8487-DD7A1F93DB8E}" dt="2020-05-31T23:55:41.220" v="672" actId="478"/>
          <ac:spMkLst>
            <pc:docMk/>
            <pc:sldMk cId="436085927" sldId="409"/>
            <ac:spMk id="3" creationId="{4017DE2C-243E-4834-B42A-A397F2334EC4}"/>
          </ac:spMkLst>
        </pc:spChg>
        <pc:spChg chg="mod">
          <ac:chgData name="Reynolds, Morgan W" userId="3f4164b4-5409-4990-8772-99c8029ca02a" providerId="ADAL" clId="{9636E211-97D4-4CE3-8487-DD7A1F93DB8E}" dt="2020-05-31T23:38:26.915" v="425" actId="20577"/>
          <ac:spMkLst>
            <pc:docMk/>
            <pc:sldMk cId="436085927" sldId="409"/>
            <ac:spMk id="4" creationId="{00000000-0000-0000-0000-000000000000}"/>
          </ac:spMkLst>
        </pc:spChg>
        <pc:spChg chg="add mod">
          <ac:chgData name="Reynolds, Morgan W" userId="3f4164b4-5409-4990-8772-99c8029ca02a" providerId="ADAL" clId="{9636E211-97D4-4CE3-8487-DD7A1F93DB8E}" dt="2020-05-31T23:55:48.952" v="678" actId="20577"/>
          <ac:spMkLst>
            <pc:docMk/>
            <pc:sldMk cId="436085927" sldId="409"/>
            <ac:spMk id="8" creationId="{6CF84605-B352-4748-9B0E-890CDFE7F4C7}"/>
          </ac:spMkLst>
        </pc:spChg>
        <pc:spChg chg="mod">
          <ac:chgData name="Reynolds, Morgan W" userId="3f4164b4-5409-4990-8772-99c8029ca02a" providerId="ADAL" clId="{9636E211-97D4-4CE3-8487-DD7A1F93DB8E}" dt="2020-05-31T23:55:58.735" v="679" actId="14100"/>
          <ac:spMkLst>
            <pc:docMk/>
            <pc:sldMk cId="436085927" sldId="409"/>
            <ac:spMk id="9" creationId="{00000000-0000-0000-0000-000000000000}"/>
          </ac:spMkLst>
        </pc:spChg>
        <pc:spChg chg="del mod">
          <ac:chgData name="Reynolds, Morgan W" userId="3f4164b4-5409-4990-8772-99c8029ca02a" providerId="ADAL" clId="{9636E211-97D4-4CE3-8487-DD7A1F93DB8E}" dt="2020-05-31T23:55:37.587" v="671" actId="478"/>
          <ac:spMkLst>
            <pc:docMk/>
            <pc:sldMk cId="436085927" sldId="409"/>
            <ac:spMk id="10" creationId="{00000000-0000-0000-0000-000000000000}"/>
          </ac:spMkLst>
        </pc:spChg>
        <pc:spChg chg="mod">
          <ac:chgData name="Reynolds, Morgan W" userId="3f4164b4-5409-4990-8772-99c8029ca02a" providerId="ADAL" clId="{9636E211-97D4-4CE3-8487-DD7A1F93DB8E}" dt="2020-05-31T23:55:35.632" v="670" actId="2710"/>
          <ac:spMkLst>
            <pc:docMk/>
            <pc:sldMk cId="436085927" sldId="409"/>
            <ac:spMk id="12" creationId="{7AD75D9B-5790-4167-B441-38B06A7413FD}"/>
          </ac:spMkLst>
        </pc:spChg>
        <pc:grpChg chg="add del mod">
          <ac:chgData name="Reynolds, Morgan W" userId="3f4164b4-5409-4990-8772-99c8029ca02a" providerId="ADAL" clId="{9636E211-97D4-4CE3-8487-DD7A1F93DB8E}" dt="2020-06-01T00:16:54.754" v="696" actId="478"/>
          <ac:grpSpMkLst>
            <pc:docMk/>
            <pc:sldMk cId="436085927" sldId="409"/>
            <ac:grpSpMk id="11" creationId="{5483B7C3-9CA7-48E6-8BB3-801634FE8292}"/>
          </ac:grpSpMkLst>
        </pc:grpChg>
        <pc:picChg chg="add mod">
          <ac:chgData name="Reynolds, Morgan W" userId="3f4164b4-5409-4990-8772-99c8029ca02a" providerId="ADAL" clId="{9636E211-97D4-4CE3-8487-DD7A1F93DB8E}" dt="2020-06-01T00:20:49.791" v="719" actId="1076"/>
          <ac:picMkLst>
            <pc:docMk/>
            <pc:sldMk cId="436085927" sldId="409"/>
            <ac:picMk id="25" creationId="{5EF29B0B-1086-4297-B5E5-D7990194F33F}"/>
          </ac:picMkLst>
        </pc:picChg>
      </pc:sldChg>
      <pc:sldChg chg="addSp delSp modSp add del">
        <pc:chgData name="Reynolds, Morgan W" userId="3f4164b4-5409-4990-8772-99c8029ca02a" providerId="ADAL" clId="{9636E211-97D4-4CE3-8487-DD7A1F93DB8E}" dt="2020-05-31T23:22:14.035" v="112" actId="2696"/>
        <pc:sldMkLst>
          <pc:docMk/>
          <pc:sldMk cId="1124736095" sldId="409"/>
        </pc:sldMkLst>
        <pc:spChg chg="add mod">
          <ac:chgData name="Reynolds, Morgan W" userId="3f4164b4-5409-4990-8772-99c8029ca02a" providerId="ADAL" clId="{9636E211-97D4-4CE3-8487-DD7A1F93DB8E}" dt="2020-05-31T23:16:34.710" v="6"/>
          <ac:spMkLst>
            <pc:docMk/>
            <pc:sldMk cId="1124736095" sldId="409"/>
            <ac:spMk id="3" creationId="{6556FC33-E9E6-4709-AA67-1D58D2E710C8}"/>
          </ac:spMkLst>
        </pc:spChg>
        <pc:spChg chg="del">
          <ac:chgData name="Reynolds, Morgan W" userId="3f4164b4-5409-4990-8772-99c8029ca02a" providerId="ADAL" clId="{9636E211-97D4-4CE3-8487-DD7A1F93DB8E}" dt="2020-05-31T23:16:26.555" v="1" actId="478"/>
          <ac:spMkLst>
            <pc:docMk/>
            <pc:sldMk cId="1124736095" sldId="409"/>
            <ac:spMk id="7" creationId="{00000000-0000-0000-0000-000000000000}"/>
          </ac:spMkLst>
        </pc:spChg>
        <pc:spChg chg="del">
          <ac:chgData name="Reynolds, Morgan W" userId="3f4164b4-5409-4990-8772-99c8029ca02a" providerId="ADAL" clId="{9636E211-97D4-4CE3-8487-DD7A1F93DB8E}" dt="2020-05-31T23:16:26.555" v="1" actId="478"/>
          <ac:spMkLst>
            <pc:docMk/>
            <pc:sldMk cId="1124736095" sldId="409"/>
            <ac:spMk id="8" creationId="{00000000-0000-0000-0000-000000000000}"/>
          </ac:spMkLst>
        </pc:spChg>
        <pc:spChg chg="del">
          <ac:chgData name="Reynolds, Morgan W" userId="3f4164b4-5409-4990-8772-99c8029ca02a" providerId="ADAL" clId="{9636E211-97D4-4CE3-8487-DD7A1F93DB8E}" dt="2020-05-31T23:16:26.555" v="1" actId="478"/>
          <ac:spMkLst>
            <pc:docMk/>
            <pc:sldMk cId="1124736095" sldId="409"/>
            <ac:spMk id="9" creationId="{00000000-0000-0000-0000-000000000000}"/>
          </ac:spMkLst>
        </pc:spChg>
        <pc:spChg chg="add mod">
          <ac:chgData name="Reynolds, Morgan W" userId="3f4164b4-5409-4990-8772-99c8029ca02a" providerId="ADAL" clId="{9636E211-97D4-4CE3-8487-DD7A1F93DB8E}" dt="2020-05-31T23:16:26.555" v="1" actId="478"/>
          <ac:spMkLst>
            <pc:docMk/>
            <pc:sldMk cId="1124736095" sldId="409"/>
            <ac:spMk id="12" creationId="{FDE4AF23-B43C-453A-A1A2-46F9BA9D95B7}"/>
          </ac:spMkLst>
        </pc:spChg>
        <pc:spChg chg="add mod">
          <ac:chgData name="Reynolds, Morgan W" userId="3f4164b4-5409-4990-8772-99c8029ca02a" providerId="ADAL" clId="{9636E211-97D4-4CE3-8487-DD7A1F93DB8E}" dt="2020-05-31T23:16:26.555" v="1" actId="478"/>
          <ac:spMkLst>
            <pc:docMk/>
            <pc:sldMk cId="1124736095" sldId="409"/>
            <ac:spMk id="16" creationId="{3C198F55-8262-43EE-BBF6-9657F7BE05AF}"/>
          </ac:spMkLst>
        </pc:spChg>
        <pc:cxnChg chg="del">
          <ac:chgData name="Reynolds, Morgan W" userId="3f4164b4-5409-4990-8772-99c8029ca02a" providerId="ADAL" clId="{9636E211-97D4-4CE3-8487-DD7A1F93DB8E}" dt="2020-05-31T23:16:26.555" v="1" actId="478"/>
          <ac:cxnSpMkLst>
            <pc:docMk/>
            <pc:sldMk cId="1124736095" sldId="409"/>
            <ac:cxnSpMk id="14" creationId="{00000000-0000-0000-0000-000000000000}"/>
          </ac:cxnSpMkLst>
        </pc:cxnChg>
        <pc:cxnChg chg="del">
          <ac:chgData name="Reynolds, Morgan W" userId="3f4164b4-5409-4990-8772-99c8029ca02a" providerId="ADAL" clId="{9636E211-97D4-4CE3-8487-DD7A1F93DB8E}" dt="2020-05-31T23:16:26.555" v="1" actId="478"/>
          <ac:cxnSpMkLst>
            <pc:docMk/>
            <pc:sldMk cId="1124736095" sldId="409"/>
            <ac:cxnSpMk id="15" creationId="{00000000-0000-0000-0000-000000000000}"/>
          </ac:cxnSpMkLst>
        </pc:cxnChg>
      </pc:sldChg>
      <pc:sldChg chg="add del">
        <pc:chgData name="Reynolds, Morgan W" userId="3f4164b4-5409-4990-8772-99c8029ca02a" providerId="ADAL" clId="{9636E211-97D4-4CE3-8487-DD7A1F93DB8E}" dt="2020-05-31T23:16:29.363" v="3"/>
        <pc:sldMkLst>
          <pc:docMk/>
          <pc:sldMk cId="1746986681" sldId="410"/>
        </pc:sldMkLst>
      </pc:sldChg>
      <pc:sldChg chg="addSp delSp modSp add ord">
        <pc:chgData name="Reynolds, Morgan W" userId="3f4164b4-5409-4990-8772-99c8029ca02a" providerId="ADAL" clId="{9636E211-97D4-4CE3-8487-DD7A1F93DB8E}" dt="2020-06-01T00:19:59.800" v="714" actId="478"/>
        <pc:sldMkLst>
          <pc:docMk/>
          <pc:sldMk cId="2069651519" sldId="410"/>
        </pc:sldMkLst>
        <pc:spChg chg="add del mod">
          <ac:chgData name="Reynolds, Morgan W" userId="3f4164b4-5409-4990-8772-99c8029ca02a" providerId="ADAL" clId="{9636E211-97D4-4CE3-8487-DD7A1F93DB8E}" dt="2020-05-31T23:33:32.485" v="340" actId="478"/>
          <ac:spMkLst>
            <pc:docMk/>
            <pc:sldMk cId="2069651519" sldId="410"/>
            <ac:spMk id="3" creationId="{44CFBA19-FA85-4357-BCCD-465F5882CCA6}"/>
          </ac:spMkLst>
        </pc:spChg>
        <pc:spChg chg="mod">
          <ac:chgData name="Reynolds, Morgan W" userId="3f4164b4-5409-4990-8772-99c8029ca02a" providerId="ADAL" clId="{9636E211-97D4-4CE3-8487-DD7A1F93DB8E}" dt="2020-05-31T23:38:39.818" v="429" actId="20577"/>
          <ac:spMkLst>
            <pc:docMk/>
            <pc:sldMk cId="2069651519" sldId="410"/>
            <ac:spMk id="4" creationId="{00000000-0000-0000-0000-000000000000}"/>
          </ac:spMkLst>
        </pc:spChg>
        <pc:spChg chg="mod">
          <ac:chgData name="Reynolds, Morgan W" userId="3f4164b4-5409-4990-8772-99c8029ca02a" providerId="ADAL" clId="{9636E211-97D4-4CE3-8487-DD7A1F93DB8E}" dt="2020-05-31T23:43:54.210" v="525" actId="1036"/>
          <ac:spMkLst>
            <pc:docMk/>
            <pc:sldMk cId="2069651519" sldId="410"/>
            <ac:spMk id="5" creationId="{00000000-0000-0000-0000-000000000000}"/>
          </ac:spMkLst>
        </pc:spChg>
        <pc:spChg chg="del">
          <ac:chgData name="Reynolds, Morgan W" userId="3f4164b4-5409-4990-8772-99c8029ca02a" providerId="ADAL" clId="{9636E211-97D4-4CE3-8487-DD7A1F93DB8E}" dt="2020-05-31T23:33:29.352" v="339" actId="478"/>
          <ac:spMkLst>
            <pc:docMk/>
            <pc:sldMk cId="2069651519" sldId="410"/>
            <ac:spMk id="8" creationId="{00000000-0000-0000-0000-000000000000}"/>
          </ac:spMkLst>
        </pc:spChg>
        <pc:spChg chg="add mod">
          <ac:chgData name="Reynolds, Morgan W" userId="3f4164b4-5409-4990-8772-99c8029ca02a" providerId="ADAL" clId="{9636E211-97D4-4CE3-8487-DD7A1F93DB8E}" dt="2020-05-31T23:43:54.210" v="525" actId="1036"/>
          <ac:spMkLst>
            <pc:docMk/>
            <pc:sldMk cId="2069651519" sldId="410"/>
            <ac:spMk id="9" creationId="{B7C274F8-9229-4431-8AA9-074CDC34F17B}"/>
          </ac:spMkLst>
        </pc:spChg>
        <pc:spChg chg="add mod">
          <ac:chgData name="Reynolds, Morgan W" userId="3f4164b4-5409-4990-8772-99c8029ca02a" providerId="ADAL" clId="{9636E211-97D4-4CE3-8487-DD7A1F93DB8E}" dt="2020-05-31T23:44:13.092" v="553" actId="1037"/>
          <ac:spMkLst>
            <pc:docMk/>
            <pc:sldMk cId="2069651519" sldId="410"/>
            <ac:spMk id="10" creationId="{8F816C54-AD32-4E6C-8848-CBB4D31781A9}"/>
          </ac:spMkLst>
        </pc:spChg>
        <pc:spChg chg="add mod">
          <ac:chgData name="Reynolds, Morgan W" userId="3f4164b4-5409-4990-8772-99c8029ca02a" providerId="ADAL" clId="{9636E211-97D4-4CE3-8487-DD7A1F93DB8E}" dt="2020-05-31T23:43:24.504" v="517" actId="12789"/>
          <ac:spMkLst>
            <pc:docMk/>
            <pc:sldMk cId="2069651519" sldId="410"/>
            <ac:spMk id="11" creationId="{D03E89AE-F80C-4AC1-9AE4-E6C18511EC77}"/>
          </ac:spMkLst>
        </pc:spChg>
        <pc:spChg chg="add mod">
          <ac:chgData name="Reynolds, Morgan W" userId="3f4164b4-5409-4990-8772-99c8029ca02a" providerId="ADAL" clId="{9636E211-97D4-4CE3-8487-DD7A1F93DB8E}" dt="2020-05-31T23:44:13.092" v="553" actId="1037"/>
          <ac:spMkLst>
            <pc:docMk/>
            <pc:sldMk cId="2069651519" sldId="410"/>
            <ac:spMk id="12" creationId="{E07D1E17-6AE4-4ACE-AB9D-64D2BBC43401}"/>
          </ac:spMkLst>
        </pc:spChg>
        <pc:spChg chg="add mod">
          <ac:chgData name="Reynolds, Morgan W" userId="3f4164b4-5409-4990-8772-99c8029ca02a" providerId="ADAL" clId="{9636E211-97D4-4CE3-8487-DD7A1F93DB8E}" dt="2020-05-31T23:43:48.217" v="519" actId="552"/>
          <ac:spMkLst>
            <pc:docMk/>
            <pc:sldMk cId="2069651519" sldId="410"/>
            <ac:spMk id="13" creationId="{84B2FB7F-7474-44F5-A3CD-034C77D63C14}"/>
          </ac:spMkLst>
        </pc:spChg>
        <pc:spChg chg="add del mod">
          <ac:chgData name="Reynolds, Morgan W" userId="3f4164b4-5409-4990-8772-99c8029ca02a" providerId="ADAL" clId="{9636E211-97D4-4CE3-8487-DD7A1F93DB8E}" dt="2020-05-31T23:31:48.549" v="336" actId="478"/>
          <ac:spMkLst>
            <pc:docMk/>
            <pc:sldMk cId="2069651519" sldId="410"/>
            <ac:spMk id="17" creationId="{ED868C45-5082-4168-9737-D52018575DA0}"/>
          </ac:spMkLst>
        </pc:spChg>
        <pc:picChg chg="add del mod">
          <ac:chgData name="Reynolds, Morgan W" userId="3f4164b4-5409-4990-8772-99c8029ca02a" providerId="ADAL" clId="{9636E211-97D4-4CE3-8487-DD7A1F93DB8E}" dt="2020-06-01T00:16:57.643" v="697" actId="478"/>
          <ac:picMkLst>
            <pc:docMk/>
            <pc:sldMk cId="2069651519" sldId="410"/>
            <ac:picMk id="14" creationId="{51508906-F5A5-4F81-A70C-AB794D2F6253}"/>
          </ac:picMkLst>
        </pc:picChg>
        <pc:picChg chg="add del mod">
          <ac:chgData name="Reynolds, Morgan W" userId="3f4164b4-5409-4990-8772-99c8029ca02a" providerId="ADAL" clId="{9636E211-97D4-4CE3-8487-DD7A1F93DB8E}" dt="2020-06-01T00:18:38.467" v="705" actId="478"/>
          <ac:picMkLst>
            <pc:docMk/>
            <pc:sldMk cId="2069651519" sldId="410"/>
            <ac:picMk id="15" creationId="{053FE0BB-6556-4260-97ED-78762CB7F7A6}"/>
          </ac:picMkLst>
        </pc:picChg>
        <pc:picChg chg="add mod">
          <ac:chgData name="Reynolds, Morgan W" userId="3f4164b4-5409-4990-8772-99c8029ca02a" providerId="ADAL" clId="{9636E211-97D4-4CE3-8487-DD7A1F93DB8E}" dt="2020-06-01T00:17:59.824" v="703" actId="1076"/>
          <ac:picMkLst>
            <pc:docMk/>
            <pc:sldMk cId="2069651519" sldId="410"/>
            <ac:picMk id="16" creationId="{D17A9D98-4AB3-490A-8D2D-80659137FA1C}"/>
          </ac:picMkLst>
        </pc:picChg>
        <pc:picChg chg="add mod">
          <ac:chgData name="Reynolds, Morgan W" userId="3f4164b4-5409-4990-8772-99c8029ca02a" providerId="ADAL" clId="{9636E211-97D4-4CE3-8487-DD7A1F93DB8E}" dt="2020-06-01T00:18:42.905" v="707" actId="1076"/>
          <ac:picMkLst>
            <pc:docMk/>
            <pc:sldMk cId="2069651519" sldId="410"/>
            <ac:picMk id="18" creationId="{76EA1F38-433B-4172-9B8F-D96C1AE89185}"/>
          </ac:picMkLst>
        </pc:picChg>
        <pc:picChg chg="add mod">
          <ac:chgData name="Reynolds, Morgan W" userId="3f4164b4-5409-4990-8772-99c8029ca02a" providerId="ADAL" clId="{9636E211-97D4-4CE3-8487-DD7A1F93DB8E}" dt="2020-06-01T00:19:11.275" v="710" actId="1076"/>
          <ac:picMkLst>
            <pc:docMk/>
            <pc:sldMk cId="2069651519" sldId="410"/>
            <ac:picMk id="19" creationId="{E2279735-E785-4699-BB88-E929B70BF423}"/>
          </ac:picMkLst>
        </pc:picChg>
        <pc:picChg chg="add del mod">
          <ac:chgData name="Reynolds, Morgan W" userId="3f4164b4-5409-4990-8772-99c8029ca02a" providerId="ADAL" clId="{9636E211-97D4-4CE3-8487-DD7A1F93DB8E}" dt="2020-06-01T00:19:59.800" v="714" actId="478"/>
          <ac:picMkLst>
            <pc:docMk/>
            <pc:sldMk cId="2069651519" sldId="410"/>
            <ac:picMk id="20" creationId="{D00CA981-85A7-4C3B-9154-FE83B1B56DFE}"/>
          </ac:picMkLst>
        </pc:picChg>
      </pc:sldChg>
      <pc:sldMasterChg chg="addSp delSp modSp">
        <pc:chgData name="Reynolds, Morgan W" userId="3f4164b4-5409-4990-8772-99c8029ca02a" providerId="ADAL" clId="{9636E211-97D4-4CE3-8487-DD7A1F93DB8E}" dt="2020-05-31T23:46:36.268" v="570"/>
        <pc:sldMasterMkLst>
          <pc:docMk/>
          <pc:sldMasterMk cId="1762778664" sldId="2147483671"/>
        </pc:sldMasterMkLst>
        <pc:spChg chg="mod">
          <ac:chgData name="Reynolds, Morgan W" userId="3f4164b4-5409-4990-8772-99c8029ca02a" providerId="ADAL" clId="{9636E211-97D4-4CE3-8487-DD7A1F93DB8E}" dt="2020-05-31T23:44:38.637" v="557" actId="20577"/>
          <ac:spMkLst>
            <pc:docMk/>
            <pc:sldMasterMk cId="1762778664" sldId="2147483671"/>
            <ac:spMk id="6" creationId="{E824319D-02CC-441E-87B5-E9D15DE8CA35}"/>
          </ac:spMkLst>
        </pc:spChg>
        <pc:spChg chg="del">
          <ac:chgData name="Reynolds, Morgan W" userId="3f4164b4-5409-4990-8772-99c8029ca02a" providerId="ADAL" clId="{9636E211-97D4-4CE3-8487-DD7A1F93DB8E}" dt="2020-05-31T23:45:48.311" v="567" actId="478"/>
          <ac:spMkLst>
            <pc:docMk/>
            <pc:sldMasterMk cId="1762778664" sldId="2147483671"/>
            <ac:spMk id="8" creationId="{E824319D-02CC-441E-87B5-E9D15DE8CA35}"/>
          </ac:spMkLst>
        </pc:spChg>
        <pc:grpChg chg="add">
          <ac:chgData name="Reynolds, Morgan W" userId="3f4164b4-5409-4990-8772-99c8029ca02a" providerId="ADAL" clId="{9636E211-97D4-4CE3-8487-DD7A1F93DB8E}" dt="2020-05-31T23:46:36.268" v="570"/>
          <ac:grpSpMkLst>
            <pc:docMk/>
            <pc:sldMasterMk cId="1762778664" sldId="2147483671"/>
            <ac:grpSpMk id="33" creationId="{E7497D64-45ED-4853-9A89-FFCA05F03DCF}"/>
          </ac:grpSpMkLst>
        </pc:grpChg>
        <pc:picChg chg="add del mod">
          <ac:chgData name="Reynolds, Morgan W" userId="3f4164b4-5409-4990-8772-99c8029ca02a" providerId="ADAL" clId="{9636E211-97D4-4CE3-8487-DD7A1F93DB8E}" dt="2020-05-31T23:46:36.011" v="569" actId="478"/>
          <ac:picMkLst>
            <pc:docMk/>
            <pc:sldMasterMk cId="1762778664" sldId="2147483671"/>
            <ac:picMk id="32" creationId="{80AD9EBF-1C0A-4AC0-9827-3E054D96882E}"/>
          </ac:picMkLst>
        </pc:picChg>
      </pc:sldMasterChg>
      <pc:sldMasterChg chg="modSldLayout">
        <pc:chgData name="Reynolds, Morgan W" userId="3f4164b4-5409-4990-8772-99c8029ca02a" providerId="ADAL" clId="{9636E211-97D4-4CE3-8487-DD7A1F93DB8E}" dt="2020-06-01T00:01:58.126" v="683" actId="20577"/>
        <pc:sldMasterMkLst>
          <pc:docMk/>
          <pc:sldMasterMk cId="1768834783" sldId="2147483858"/>
        </pc:sldMasterMkLst>
        <pc:sldLayoutChg chg="modSp">
          <pc:chgData name="Reynolds, Morgan W" userId="3f4164b4-5409-4990-8772-99c8029ca02a" providerId="ADAL" clId="{9636E211-97D4-4CE3-8487-DD7A1F93DB8E}" dt="2020-06-01T00:01:58.126" v="683" actId="20577"/>
          <pc:sldLayoutMkLst>
            <pc:docMk/>
            <pc:sldMasterMk cId="1768834783" sldId="2147483858"/>
            <pc:sldLayoutMk cId="3671831822" sldId="2147483864"/>
          </pc:sldLayoutMkLst>
          <pc:spChg chg="mod">
            <ac:chgData name="Reynolds, Morgan W" userId="3f4164b4-5409-4990-8772-99c8029ca02a" providerId="ADAL" clId="{9636E211-97D4-4CE3-8487-DD7A1F93DB8E}" dt="2020-06-01T00:01:58.126" v="683" actId="20577"/>
            <ac:spMkLst>
              <pc:docMk/>
              <pc:sldMasterMk cId="1768834783" sldId="2147483858"/>
              <pc:sldLayoutMk cId="3671831822" sldId="2147483864"/>
              <ac:spMk id="23"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1/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1/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5.gi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2B811-B654-4938-8289-D2DB51AE15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6391BE-16A0-45B8-84D7-AC24FB5F04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057E29-784B-479A-A754-35EEAEE22991}"/>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0E0E9935-07F8-4960-82A9-8C6E03101F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169D3C-54DC-49AF-A443-0742DE9E373A}"/>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415982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89135-DA3D-446C-A768-DAD2098B49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2AE467-E151-43BC-A1BF-216EB52B83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A9D7AA-4195-49D4-BC41-93CF5C6871FC}"/>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7D756E57-42E3-4CF1-8CF4-4D75372911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16707C-E377-4B7E-92AA-95B1ADBE86DB}"/>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16008940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ECEDC-45BA-4386-99B6-142C35F028C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71DBE0-65D6-4FA0-B385-CC27E292D0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8AD02B-5F4E-494B-AE0E-88A676E95934}"/>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14F5D4B3-6DF3-439D-AB60-EC3CADCFA9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BCF8F4-4976-425C-A0D9-6D82248C4B29}"/>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15235912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F013C-D918-442A-82E4-394F0ABAED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0218BA-ED7B-4530-AEA7-75EE3770D6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FC29CC5-6715-46D7-B3EE-401B60191A8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B34E12F-6D95-4EB0-90E0-03E472EAE8ED}"/>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6" name="Footer Placeholder 5">
            <a:extLst>
              <a:ext uri="{FF2B5EF4-FFF2-40B4-BE49-F238E27FC236}">
                <a16:creationId xmlns:a16="http://schemas.microsoft.com/office/drawing/2014/main" id="{3C4E3E41-B939-425C-8E15-3735E19E08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2C1A3C-6D92-4C4F-B4C3-06C12758DDDD}"/>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3331524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DA27B-496D-4C75-997A-BDFA3030B8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1657062-467C-4AD5-A7AC-AA7A2084DC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E2FE11-5973-4935-8CE1-B4A19FF5A0F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E99685-4EEB-4A1F-9976-63E2B289FE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4552D0-84DA-4C7A-A3C0-15F592FB457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779775-902C-428B-86AD-00596E9363EE}"/>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8" name="Footer Placeholder 7">
            <a:extLst>
              <a:ext uri="{FF2B5EF4-FFF2-40B4-BE49-F238E27FC236}">
                <a16:creationId xmlns:a16="http://schemas.microsoft.com/office/drawing/2014/main" id="{C77E7CC6-2F32-457A-97A9-0B2D905FBC5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F16B35-6525-45DB-AF53-BED40FA70BF0}"/>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2462087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001AE-464B-4B74-9E63-FEDA491F40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C72BBF-94ED-4A98-AD32-076684B98FC8}"/>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4" name="Footer Placeholder 3">
            <a:extLst>
              <a:ext uri="{FF2B5EF4-FFF2-40B4-BE49-F238E27FC236}">
                <a16:creationId xmlns:a16="http://schemas.microsoft.com/office/drawing/2014/main" id="{649938D0-FE04-43E4-941B-DCF3CF01357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C4ABAFA-1386-4A53-A507-B720764E65E9}"/>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721581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68DEE4-9B1F-4A94-BDFF-5593C82CCAEE}"/>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3" name="Footer Placeholder 2">
            <a:extLst>
              <a:ext uri="{FF2B5EF4-FFF2-40B4-BE49-F238E27FC236}">
                <a16:creationId xmlns:a16="http://schemas.microsoft.com/office/drawing/2014/main" id="{1C843931-E367-4F2A-8BFA-BA1ED3EE2D8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3BAF635-0800-4EB9-8526-E8285FBF8763}"/>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3064064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91C08-8782-415D-97BD-B9DD3D904E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299BAB7-8930-4001-A847-61E1932E24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B02999-35FF-41EF-A5CA-6532E85EF9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1174FA-F193-4CCA-AE4C-96B7DEED1DC8}"/>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6" name="Footer Placeholder 5">
            <a:extLst>
              <a:ext uri="{FF2B5EF4-FFF2-40B4-BE49-F238E27FC236}">
                <a16:creationId xmlns:a16="http://schemas.microsoft.com/office/drawing/2014/main" id="{62A6F00A-9A58-4B2E-BF79-7DC09160DD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29608-7F14-495B-92A5-2795FDDC5834}"/>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19326890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47331-A369-4B0A-9F7B-82F5CF65C2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444A56-B444-4E74-BF4B-BC118B1985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1949BF-9AE5-4904-B75A-260C1F73ED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62172B-662F-4C6A-930E-72E4E4E5D8D9}"/>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6" name="Footer Placeholder 5">
            <a:extLst>
              <a:ext uri="{FF2B5EF4-FFF2-40B4-BE49-F238E27FC236}">
                <a16:creationId xmlns:a16="http://schemas.microsoft.com/office/drawing/2014/main" id="{40AB3EFD-09A3-40DF-8464-EC45386E36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AD6965-B7DE-44B9-BD0C-EA49C7BBDCE6}"/>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22089987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F2B4C-3928-4A77-9862-7E02F62C61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F53D60F-20D3-407A-8BD6-1A6819DA4C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CDA414-74C7-463C-95FE-E8D1F5883CAF}"/>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1A29729F-4CF6-4483-B829-7C10689AEF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CED7D-1277-4CAC-93E9-A741B058858C}"/>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2531795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5447BD-3477-4CE0-A1A8-39D7BC2DE0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7E30C16-56BA-4F48-A24D-C6FDD9C0A5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ECB16B-6C25-48E7-8C98-09CD433F0BA9}"/>
              </a:ext>
            </a:extLst>
          </p:cNvPr>
          <p:cNvSpPr>
            <a:spLocks noGrp="1"/>
          </p:cNvSpPr>
          <p:nvPr>
            <p:ph type="dt" sz="half" idx="10"/>
          </p:nvPr>
        </p:nvSpPr>
        <p:spPr/>
        <p:txBody>
          <a:body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D0FF0E46-8663-4DAF-B707-4708457A21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F74C53-2BDA-4AB2-B911-99FCD95F22EC}"/>
              </a:ext>
            </a:extLst>
          </p:cNvPr>
          <p:cNvSpPr>
            <a:spLocks noGrp="1"/>
          </p:cNvSpPr>
          <p:nvPr>
            <p:ph type="sldNum" sz="quarter" idx="12"/>
          </p:nvPr>
        </p:nvSpPr>
        <p:spPr/>
        <p:txBody>
          <a:bodyPr/>
          <a:lstStyle/>
          <a:p>
            <a:fld id="{CCCE0CEC-A563-4B5E-A653-9250F55DF263}" type="slidenum">
              <a:rPr lang="en-US" smtClean="0"/>
              <a:t>‹#›</a:t>
            </a:fld>
            <a:endParaRPr lang="en-US"/>
          </a:p>
        </p:txBody>
      </p:sp>
    </p:spTree>
    <p:extLst>
      <p:ext uri="{BB962C8B-B14F-4D97-AF65-F5344CB8AC3E}">
        <p14:creationId xmlns:p14="http://schemas.microsoft.com/office/powerpoint/2010/main" val="3003991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842889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12" name="Rectangle 26"/>
          <p:cNvSpPr>
            <a:spLocks noChangeArrowheads="1"/>
          </p:cNvSpPr>
          <p:nvPr userDrawn="1">
            <p:custDataLst>
              <p:tags r:id="rId1"/>
            </p:custDataLst>
          </p:nvPr>
        </p:nvSpPr>
        <p:spPr bwMode="auto">
          <a:xfrm>
            <a:off x="-9776" y="6410327"/>
            <a:ext cx="12193477"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sz="1800" noProof="0"/>
          </a:p>
        </p:txBody>
      </p:sp>
      <p:pic>
        <p:nvPicPr>
          <p:cNvPr id="15" name="Grafik 14" descr="Capgemini_4.gif"/>
          <p:cNvPicPr>
            <a:picLocks noChangeAspect="1"/>
          </p:cNvPicPr>
          <p:nvPr userDrawn="1">
            <p:custDataLst>
              <p:tags r:id="rId2"/>
            </p:custDataLst>
          </p:nvPr>
        </p:nvPicPr>
        <p:blipFill>
          <a:blip r:embed="rId4"/>
          <a:stretch>
            <a:fillRect/>
          </a:stretch>
        </p:blipFill>
        <p:spPr>
          <a:xfrm>
            <a:off x="163280" y="6466641"/>
            <a:ext cx="1689811" cy="294287"/>
          </a:xfrm>
          <a:prstGeom prst="rect">
            <a:avLst/>
          </a:prstGeom>
        </p:spPr>
      </p:pic>
      <p:sp>
        <p:nvSpPr>
          <p:cNvPr id="16" name="Datumsplatzhalter 15"/>
          <p:cNvSpPr>
            <a:spLocks noGrp="1"/>
          </p:cNvSpPr>
          <p:nvPr>
            <p:ph type="dt" sz="half" idx="10"/>
          </p:nvPr>
        </p:nvSpPr>
        <p:spPr/>
        <p:txBody>
          <a:bodyPr/>
          <a:lstStyle/>
          <a:p>
            <a:pPr>
              <a:defRPr/>
            </a:pPr>
            <a:endParaRPr lang="en-US" dirty="0"/>
          </a:p>
        </p:txBody>
      </p:sp>
      <p:sp>
        <p:nvSpPr>
          <p:cNvPr id="17" name="Foliennummernplatzhalter 16"/>
          <p:cNvSpPr>
            <a:spLocks noGrp="1"/>
          </p:cNvSpPr>
          <p:nvPr>
            <p:ph type="sldNum" sz="quarter" idx="11"/>
          </p:nvPr>
        </p:nvSpPr>
        <p:spPr/>
        <p:txBody>
          <a:bodyPr/>
          <a:lstStyle/>
          <a:p>
            <a:pPr>
              <a:defRPr/>
            </a:pPr>
            <a:fld id="{9D48B0A8-A3BB-4090-A486-05597CC74740}" type="slidenum">
              <a:rPr lang="en-US" smtClean="0"/>
              <a:pPr>
                <a:defRPr/>
              </a:pPr>
              <a:t>‹#›</a:t>
            </a:fld>
            <a:endParaRPr lang="en-US" dirty="0"/>
          </a:p>
        </p:txBody>
      </p:sp>
      <p:sp>
        <p:nvSpPr>
          <p:cNvPr id="21" name="Fußzeilenplatzhalter 20"/>
          <p:cNvSpPr>
            <a:spLocks noGrp="1"/>
          </p:cNvSpPr>
          <p:nvPr>
            <p:ph type="ftr" sz="quarter" idx="12"/>
          </p:nvPr>
        </p:nvSpPr>
        <p:spPr/>
        <p:txBody>
          <a:bodyPr/>
          <a:lstStyle/>
          <a:p>
            <a:pPr>
              <a:defRPr/>
            </a:pPr>
            <a:endParaRPr lang="en-US" dirty="0"/>
          </a:p>
        </p:txBody>
      </p:sp>
    </p:spTree>
    <p:extLst>
      <p:ext uri="{BB962C8B-B14F-4D97-AF65-F5344CB8AC3E}">
        <p14:creationId xmlns:p14="http://schemas.microsoft.com/office/powerpoint/2010/main" val="3376285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23.xml"/><Relationship Id="rId7"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emf"/><Relationship Id="rId5" Type="http://schemas.openxmlformats.org/officeDocument/2006/relationships/slideLayout" Target="../slideLayouts/slideLayout25.xml"/><Relationship Id="rId10" Type="http://schemas.openxmlformats.org/officeDocument/2006/relationships/oleObject" Target="../embeddings/oleObject5.bin"/><Relationship Id="rId4" Type="http://schemas.openxmlformats.org/officeDocument/2006/relationships/slideLayout" Target="../slideLayouts/slideLayout24.xml"/><Relationship Id="rId9"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oleObject" Target="../embeddings/oleObject10.bin"/><Relationship Id="rId5" Type="http://schemas.openxmlformats.org/officeDocument/2006/relationships/tags" Target="../tags/tag14.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3" name="Group 32">
            <a:extLst>
              <a:ext uri="{FF2B5EF4-FFF2-40B4-BE49-F238E27FC236}">
                <a16:creationId xmlns:a16="http://schemas.microsoft.com/office/drawing/2014/main" id="{E7497D64-45ED-4853-9A89-FFCA05F03DCF}"/>
              </a:ext>
            </a:extLst>
          </p:cNvPr>
          <p:cNvGrpSpPr>
            <a:grpSpLocks noChangeAspect="1"/>
          </p:cNvGrpSpPr>
          <p:nvPr userDrawn="1"/>
        </p:nvGrpSpPr>
        <p:grpSpPr>
          <a:xfrm>
            <a:off x="317948" y="6434086"/>
            <a:ext cx="2377440" cy="303727"/>
            <a:chOff x="317948" y="6368096"/>
            <a:chExt cx="2991197" cy="382138"/>
          </a:xfrm>
        </p:grpSpPr>
        <p:pic>
          <p:nvPicPr>
            <p:cNvPr id="34" name="Graphic 9">
              <a:extLst>
                <a:ext uri="{FF2B5EF4-FFF2-40B4-BE49-F238E27FC236}">
                  <a16:creationId xmlns:a16="http://schemas.microsoft.com/office/drawing/2014/main" id="{66C36B43-7872-4847-805F-203DE4D9EF8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317948" y="6403101"/>
              <a:ext cx="1399028" cy="312128"/>
            </a:xfrm>
            <a:prstGeom prst="rect">
              <a:avLst/>
            </a:prstGeom>
          </p:spPr>
        </p:pic>
        <p:cxnSp>
          <p:nvCxnSpPr>
            <p:cNvPr id="35" name="Straight Connector 34">
              <a:extLst>
                <a:ext uri="{FF2B5EF4-FFF2-40B4-BE49-F238E27FC236}">
                  <a16:creationId xmlns:a16="http://schemas.microsoft.com/office/drawing/2014/main" id="{EA0EBD65-9A9D-48EF-A9B0-A2CB33378196}"/>
                </a:ext>
              </a:extLst>
            </p:cNvPr>
            <p:cNvCxnSpPr/>
            <p:nvPr userDrawn="1"/>
          </p:nvCxnSpPr>
          <p:spPr>
            <a:xfrm>
              <a:off x="1864519" y="6430578"/>
              <a:ext cx="0" cy="257175"/>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pic>
          <p:nvPicPr>
            <p:cNvPr id="36" name="Picture 9" descr="Image result for National Grid logo transparent">
              <a:extLst>
                <a:ext uri="{FF2B5EF4-FFF2-40B4-BE49-F238E27FC236}">
                  <a16:creationId xmlns:a16="http://schemas.microsoft.com/office/drawing/2014/main" id="{3B3E0275-ECD7-4CBB-9CA2-A6D2E9FA14EA}"/>
                </a:ext>
              </a:extLst>
            </p:cNvPr>
            <p:cNvPicPr>
              <a:picLocks noChangeAspect="1" noChangeArrowheads="1"/>
            </p:cNvPicPr>
            <p:nvPr userDrawn="1"/>
          </p:nvPicPr>
          <p:blipFill rotWithShape="1">
            <a:blip r:embed="rId17">
              <a:extLst>
                <a:ext uri="{28A0092B-C50C-407E-A947-70E740481C1C}">
                  <a14:useLocalDpi xmlns:a14="http://schemas.microsoft.com/office/drawing/2010/main" val="0"/>
                </a:ext>
              </a:extLst>
            </a:blip>
            <a:srcRect t="36110" b="36597"/>
            <a:stretch/>
          </p:blipFill>
          <p:spPr bwMode="auto">
            <a:xfrm>
              <a:off x="1908970" y="6368096"/>
              <a:ext cx="1400175" cy="3821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3"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E07963-4929-4958-87FE-33C58BD076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3F4694-88A9-4671-9CF6-63639089FD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D25A4E-B7A0-42B7-AFF5-DD944BEE18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3387C9-890F-42F4-8FB9-266124733574}" type="datetimeFigureOut">
              <a:rPr lang="en-US" smtClean="0"/>
              <a:t>5/31/2020</a:t>
            </a:fld>
            <a:endParaRPr lang="en-US"/>
          </a:p>
        </p:txBody>
      </p:sp>
      <p:sp>
        <p:nvSpPr>
          <p:cNvPr id="5" name="Footer Placeholder 4">
            <a:extLst>
              <a:ext uri="{FF2B5EF4-FFF2-40B4-BE49-F238E27FC236}">
                <a16:creationId xmlns:a16="http://schemas.microsoft.com/office/drawing/2014/main" id="{45AB2EE0-CE9E-4CB4-801D-12E515BC3D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15EBD7A-25D7-4A9B-827E-0A72A8D80B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E0CEC-A563-4B5E-A653-9250F55DF263}" type="slidenum">
              <a:rPr lang="en-US" smtClean="0"/>
              <a:t>‹#›</a:t>
            </a:fld>
            <a:endParaRPr lang="en-US"/>
          </a:p>
        </p:txBody>
      </p:sp>
    </p:spTree>
    <p:extLst>
      <p:ext uri="{BB962C8B-B14F-4D97-AF65-F5344CB8AC3E}">
        <p14:creationId xmlns:p14="http://schemas.microsoft.com/office/powerpoint/2010/main" val="2553062756"/>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 id="2147483896"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p:txBody>
          <a:bodyPr/>
          <a:lstStyle/>
          <a:p>
            <a:r>
              <a:rPr lang="en-US" dirty="0"/>
              <a:t>Data Strategy</a:t>
            </a:r>
            <a:br>
              <a:rPr lang="en-US" dirty="0"/>
            </a:br>
            <a:r>
              <a:rPr lang="en-US" dirty="0"/>
              <a:t>Discovery Documents</a:t>
            </a:r>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June 2020</a:t>
            </a:r>
          </a:p>
        </p:txBody>
      </p:sp>
      <p:pic>
        <p:nvPicPr>
          <p:cNvPr id="4" name="Picture 10" descr="Image result for national grid logo png">
            <a:extLst>
              <a:ext uri="{FF2B5EF4-FFF2-40B4-BE49-F238E27FC236}">
                <a16:creationId xmlns:a16="http://schemas.microsoft.com/office/drawing/2014/main" id="{A4A0DBA6-6662-4212-A01D-7D8E3A94A99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6352" y="1859045"/>
            <a:ext cx="3340746" cy="691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263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Discovery documents / knowledge requested</a:t>
            </a:r>
            <a:endParaRPr lang="en-GB" dirty="0"/>
          </a:p>
        </p:txBody>
      </p:sp>
      <p:sp>
        <p:nvSpPr>
          <p:cNvPr id="5" name="Text Placeholder 4"/>
          <p:cNvSpPr>
            <a:spLocks noGrp="1"/>
          </p:cNvSpPr>
          <p:nvPr>
            <p:ph type="body" sz="quarter" idx="10"/>
          </p:nvPr>
        </p:nvSpPr>
        <p:spPr>
          <a:xfrm>
            <a:off x="227349" y="1557315"/>
            <a:ext cx="4981575" cy="2709885"/>
          </a:xfrm>
        </p:spPr>
        <p:txBody>
          <a:bodyPr/>
          <a:lstStyle/>
          <a:p>
            <a:pPr marL="0" lvl="1" indent="0">
              <a:lnSpc>
                <a:spcPct val="150000"/>
              </a:lnSpc>
              <a:spcBef>
                <a:spcPts val="1200"/>
              </a:spcBef>
              <a:buNone/>
            </a:pPr>
            <a:r>
              <a:rPr lang="en-US" sz="1600" dirty="0">
                <a:solidFill>
                  <a:srgbClr val="0070AD"/>
                </a:solidFill>
              </a:rPr>
              <a:t>1. Current customer challenges documentation</a:t>
            </a:r>
          </a:p>
          <a:p>
            <a:pPr lvl="0">
              <a:lnSpc>
                <a:spcPct val="150000"/>
              </a:lnSpc>
              <a:spcBef>
                <a:spcPts val="1200"/>
              </a:spcBef>
            </a:pPr>
            <a:r>
              <a:rPr lang="en-US" sz="1600" dirty="0">
                <a:solidFill>
                  <a:srgbClr val="0070AD"/>
                </a:solidFill>
              </a:rPr>
              <a:t>2. Vision / Business Strategy</a:t>
            </a:r>
          </a:p>
          <a:p>
            <a:pPr>
              <a:lnSpc>
                <a:spcPct val="150000"/>
              </a:lnSpc>
              <a:spcBef>
                <a:spcPts val="1200"/>
              </a:spcBef>
            </a:pPr>
            <a:r>
              <a:rPr lang="en-US" sz="1600" dirty="0">
                <a:solidFill>
                  <a:srgbClr val="0070AD"/>
                </a:solidFill>
              </a:rPr>
              <a:t>3. Organization Chart</a:t>
            </a:r>
          </a:p>
          <a:p>
            <a:pPr>
              <a:lnSpc>
                <a:spcPct val="150000"/>
              </a:lnSpc>
              <a:spcBef>
                <a:spcPts val="1200"/>
              </a:spcBef>
            </a:pPr>
            <a:r>
              <a:rPr lang="en-US" sz="1600" dirty="0">
                <a:solidFill>
                  <a:srgbClr val="0070AD"/>
                </a:solidFill>
              </a:rPr>
              <a:t>4. Journey Maps</a:t>
            </a:r>
          </a:p>
        </p:txBody>
      </p:sp>
      <p:sp>
        <p:nvSpPr>
          <p:cNvPr id="9" name="Text Placeholder 4">
            <a:extLst>
              <a:ext uri="{FF2B5EF4-FFF2-40B4-BE49-F238E27FC236}">
                <a16:creationId xmlns:a16="http://schemas.microsoft.com/office/drawing/2014/main" id="{B7C274F8-9229-4431-8AA9-074CDC34F17B}"/>
              </a:ext>
            </a:extLst>
          </p:cNvPr>
          <p:cNvSpPr txBox="1">
            <a:spLocks/>
          </p:cNvSpPr>
          <p:nvPr/>
        </p:nvSpPr>
        <p:spPr>
          <a:xfrm>
            <a:off x="6324602" y="1557315"/>
            <a:ext cx="5257800" cy="251938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50000"/>
              </a:lnSpc>
              <a:spcBef>
                <a:spcPts val="1200"/>
              </a:spcBef>
              <a:buFont typeface="Wingdings" panose="05000000000000000000" pitchFamily="2" charset="2"/>
              <a:buNone/>
            </a:pPr>
            <a:r>
              <a:rPr lang="en-US" sz="1600" dirty="0">
                <a:solidFill>
                  <a:srgbClr val="0070AD"/>
                </a:solidFill>
              </a:rPr>
              <a:t>5. Architecture Overview/ Landscape</a:t>
            </a:r>
          </a:p>
          <a:p>
            <a:pPr marL="0" lvl="1" indent="0">
              <a:lnSpc>
                <a:spcPct val="150000"/>
              </a:lnSpc>
              <a:spcBef>
                <a:spcPts val="1200"/>
              </a:spcBef>
              <a:buFont typeface="Wingdings" panose="05000000000000000000" pitchFamily="2" charset="2"/>
              <a:buNone/>
            </a:pPr>
            <a:r>
              <a:rPr lang="en-US" sz="1600" dirty="0">
                <a:solidFill>
                  <a:srgbClr val="0070AD"/>
                </a:solidFill>
              </a:rPr>
              <a:t>6. Customer Systems</a:t>
            </a:r>
          </a:p>
          <a:p>
            <a:pPr>
              <a:lnSpc>
                <a:spcPct val="150000"/>
              </a:lnSpc>
              <a:spcBef>
                <a:spcPts val="1200"/>
              </a:spcBef>
            </a:pPr>
            <a:r>
              <a:rPr lang="en-US" sz="1600" dirty="0">
                <a:solidFill>
                  <a:srgbClr val="0070AD"/>
                </a:solidFill>
              </a:rPr>
              <a:t>7. Enterprise Architecture (customer focus)</a:t>
            </a:r>
          </a:p>
          <a:p>
            <a:pPr>
              <a:lnSpc>
                <a:spcPct val="150000"/>
              </a:lnSpc>
              <a:spcBef>
                <a:spcPts val="1200"/>
              </a:spcBef>
            </a:pPr>
            <a:r>
              <a:rPr lang="en-US" sz="1600" dirty="0">
                <a:solidFill>
                  <a:srgbClr val="0070AD"/>
                </a:solidFill>
              </a:rPr>
              <a:t>8. Data Stores</a:t>
            </a:r>
          </a:p>
          <a:p>
            <a:pPr>
              <a:lnSpc>
                <a:spcPct val="150000"/>
              </a:lnSpc>
              <a:spcBef>
                <a:spcPts val="1200"/>
              </a:spcBef>
            </a:pPr>
            <a:r>
              <a:rPr lang="en-US" sz="1600" dirty="0">
                <a:solidFill>
                  <a:srgbClr val="0070AD"/>
                </a:solidFill>
              </a:rPr>
              <a:t>9. Data Governance</a:t>
            </a:r>
            <a:endParaRPr lang="en-US" dirty="0">
              <a:solidFill>
                <a:srgbClr val="0070AD"/>
              </a:solidFill>
            </a:endParaRPr>
          </a:p>
          <a:p>
            <a:endParaRPr lang="en-US" dirty="0">
              <a:solidFill>
                <a:srgbClr val="0070AD"/>
              </a:solidFill>
            </a:endParaRPr>
          </a:p>
        </p:txBody>
      </p:sp>
      <p:sp>
        <p:nvSpPr>
          <p:cNvPr id="10" name="Text Placeholder 4">
            <a:extLst>
              <a:ext uri="{FF2B5EF4-FFF2-40B4-BE49-F238E27FC236}">
                <a16:creationId xmlns:a16="http://schemas.microsoft.com/office/drawing/2014/main" id="{8F816C54-AD32-4E6C-8848-CBB4D31781A9}"/>
              </a:ext>
            </a:extLst>
          </p:cNvPr>
          <p:cNvSpPr txBox="1">
            <a:spLocks/>
          </p:cNvSpPr>
          <p:nvPr/>
        </p:nvSpPr>
        <p:spPr>
          <a:xfrm>
            <a:off x="6324602" y="5105400"/>
            <a:ext cx="3933824" cy="133469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1200"/>
              </a:spcBef>
            </a:pPr>
            <a:r>
              <a:rPr lang="en-US" sz="1600" dirty="0">
                <a:solidFill>
                  <a:srgbClr val="0070AD"/>
                </a:solidFill>
              </a:rPr>
              <a:t>10. Interview List</a:t>
            </a:r>
            <a:endParaRPr lang="en-GB" sz="1600" dirty="0">
              <a:solidFill>
                <a:srgbClr val="0070AD"/>
              </a:solidFill>
            </a:endParaRPr>
          </a:p>
          <a:p>
            <a:pPr>
              <a:lnSpc>
                <a:spcPct val="150000"/>
              </a:lnSpc>
              <a:spcBef>
                <a:spcPts val="1200"/>
              </a:spcBef>
            </a:pPr>
            <a:r>
              <a:rPr lang="en-US" sz="1600" dirty="0">
                <a:solidFill>
                  <a:srgbClr val="0070AD"/>
                </a:solidFill>
              </a:rPr>
              <a:t>11. System Access</a:t>
            </a:r>
          </a:p>
        </p:txBody>
      </p:sp>
      <p:sp>
        <p:nvSpPr>
          <p:cNvPr id="11" name="Title 3">
            <a:extLst>
              <a:ext uri="{FF2B5EF4-FFF2-40B4-BE49-F238E27FC236}">
                <a16:creationId xmlns:a16="http://schemas.microsoft.com/office/drawing/2014/main" id="{D03E89AE-F80C-4AC1-9AE4-E6C18511EC77}"/>
              </a:ext>
            </a:extLst>
          </p:cNvPr>
          <p:cNvSpPr txBox="1">
            <a:spLocks/>
          </p:cNvSpPr>
          <p:nvPr/>
        </p:nvSpPr>
        <p:spPr>
          <a:xfrm>
            <a:off x="227349" y="919162"/>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Business</a:t>
            </a:r>
            <a:endParaRPr lang="en-US" b="1" dirty="0"/>
          </a:p>
        </p:txBody>
      </p:sp>
      <p:sp>
        <p:nvSpPr>
          <p:cNvPr id="12" name="Title 3">
            <a:extLst>
              <a:ext uri="{FF2B5EF4-FFF2-40B4-BE49-F238E27FC236}">
                <a16:creationId xmlns:a16="http://schemas.microsoft.com/office/drawing/2014/main" id="{E07D1E17-6AE4-4ACE-AB9D-64D2BBC43401}"/>
              </a:ext>
            </a:extLst>
          </p:cNvPr>
          <p:cNvSpPr txBox="1">
            <a:spLocks/>
          </p:cNvSpPr>
          <p:nvPr/>
        </p:nvSpPr>
        <p:spPr>
          <a:xfrm>
            <a:off x="6324602" y="4457699"/>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Admin</a:t>
            </a:r>
            <a:endParaRPr lang="en-US" b="1" dirty="0"/>
          </a:p>
        </p:txBody>
      </p:sp>
      <p:sp>
        <p:nvSpPr>
          <p:cNvPr id="13" name="Title 3">
            <a:extLst>
              <a:ext uri="{FF2B5EF4-FFF2-40B4-BE49-F238E27FC236}">
                <a16:creationId xmlns:a16="http://schemas.microsoft.com/office/drawing/2014/main" id="{84B2FB7F-7474-44F5-A3CD-034C77D63C14}"/>
              </a:ext>
            </a:extLst>
          </p:cNvPr>
          <p:cNvSpPr txBox="1">
            <a:spLocks/>
          </p:cNvSpPr>
          <p:nvPr/>
        </p:nvSpPr>
        <p:spPr>
          <a:xfrm>
            <a:off x="6324602" y="919162"/>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Technical</a:t>
            </a:r>
            <a:endParaRPr lang="en-US" b="1" dirty="0"/>
          </a:p>
        </p:txBody>
      </p:sp>
      <p:pic>
        <p:nvPicPr>
          <p:cNvPr id="16" name="Picture 16" descr="Writer">
            <a:extLst>
              <a:ext uri="{FF2B5EF4-FFF2-40B4-BE49-F238E27FC236}">
                <a16:creationId xmlns:a16="http://schemas.microsoft.com/office/drawing/2014/main" id="{D17A9D98-4AB3-490A-8D2D-80659137FA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7871" y="4267200"/>
            <a:ext cx="767285" cy="76728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76EA1F38-433B-4172-9B8F-D96C1AE8918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9068"/>
          <a:stretch/>
        </p:blipFill>
        <p:spPr>
          <a:xfrm>
            <a:off x="2111497" y="833646"/>
            <a:ext cx="785356" cy="714144"/>
          </a:xfrm>
          <a:prstGeom prst="rect">
            <a:avLst/>
          </a:prstGeom>
        </p:spPr>
      </p:pic>
      <p:pic>
        <p:nvPicPr>
          <p:cNvPr id="19" name="Picture 2" descr="Priority">
            <a:extLst>
              <a:ext uri="{FF2B5EF4-FFF2-40B4-BE49-F238E27FC236}">
                <a16:creationId xmlns:a16="http://schemas.microsoft.com/office/drawing/2014/main" id="{E2279735-E785-4699-BB88-E929B70BF4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4653" y="926158"/>
            <a:ext cx="617636" cy="617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9651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Discovery documents / knowledge requested</a:t>
            </a:r>
            <a:endParaRPr lang="en-GB" dirty="0"/>
          </a:p>
        </p:txBody>
      </p:sp>
      <p:sp>
        <p:nvSpPr>
          <p:cNvPr id="5" name="Text Placeholder 4"/>
          <p:cNvSpPr>
            <a:spLocks noGrp="1"/>
          </p:cNvSpPr>
          <p:nvPr>
            <p:ph type="body" sz="quarter" idx="10"/>
          </p:nvPr>
        </p:nvSpPr>
        <p:spPr>
          <a:xfrm>
            <a:off x="170204" y="1662112"/>
            <a:ext cx="5478119" cy="4124370"/>
          </a:xfrm>
        </p:spPr>
        <p:txBody>
          <a:bodyPr/>
          <a:lstStyle/>
          <a:p>
            <a:pPr marL="88900" lvl="1" indent="0">
              <a:lnSpc>
                <a:spcPct val="150000"/>
              </a:lnSpc>
              <a:buNone/>
            </a:pPr>
            <a:r>
              <a:rPr lang="en-US" b="1" dirty="0">
                <a:solidFill>
                  <a:srgbClr val="0070AD"/>
                </a:solidFill>
              </a:rPr>
              <a:t>1. Current customer challenges documentation</a:t>
            </a:r>
          </a:p>
          <a:p>
            <a:pPr lvl="1">
              <a:lnSpc>
                <a:spcPct val="150000"/>
              </a:lnSpc>
            </a:pPr>
            <a:r>
              <a:rPr lang="en-US" dirty="0"/>
              <a:t>CSAT</a:t>
            </a:r>
          </a:p>
          <a:p>
            <a:pPr lvl="1">
              <a:lnSpc>
                <a:spcPct val="150000"/>
              </a:lnSpc>
            </a:pPr>
            <a:r>
              <a:rPr lang="en-US" dirty="0"/>
              <a:t>Inventory/ catalog of know issues</a:t>
            </a:r>
          </a:p>
          <a:p>
            <a:pPr lvl="1">
              <a:lnSpc>
                <a:spcPct val="150000"/>
              </a:lnSpc>
            </a:pPr>
            <a:r>
              <a:rPr lang="en-US" dirty="0"/>
              <a:t>Open defects</a:t>
            </a:r>
          </a:p>
          <a:p>
            <a:pPr marL="88900" lvl="1" indent="0">
              <a:lnSpc>
                <a:spcPct val="150000"/>
              </a:lnSpc>
              <a:buNone/>
            </a:pPr>
            <a:endParaRPr lang="en-US" dirty="0"/>
          </a:p>
          <a:p>
            <a:pPr lvl="0">
              <a:lnSpc>
                <a:spcPct val="150000"/>
              </a:lnSpc>
            </a:pPr>
            <a:r>
              <a:rPr lang="en-US" b="1" dirty="0">
                <a:solidFill>
                  <a:srgbClr val="0070AD"/>
                </a:solidFill>
              </a:rPr>
              <a:t>2. Vision/ Business Strategy</a:t>
            </a:r>
          </a:p>
          <a:p>
            <a:pPr lvl="1">
              <a:lnSpc>
                <a:spcPct val="150000"/>
              </a:lnSpc>
            </a:pPr>
            <a:r>
              <a:rPr lang="en-US" dirty="0"/>
              <a:t>Other ongoing initiatives we need to consider</a:t>
            </a:r>
          </a:p>
          <a:p>
            <a:pPr lvl="1">
              <a:lnSpc>
                <a:spcPct val="150000"/>
              </a:lnSpc>
            </a:pPr>
            <a:r>
              <a:rPr lang="en-US" dirty="0"/>
              <a:t>Ongoing/ approved process that impact data projects (dependencies/ impacts) – i.e. planned system replacement/ upgrade</a:t>
            </a:r>
          </a:p>
        </p:txBody>
      </p:sp>
      <p:sp>
        <p:nvSpPr>
          <p:cNvPr id="17" name="Text Placeholder 4">
            <a:extLst>
              <a:ext uri="{FF2B5EF4-FFF2-40B4-BE49-F238E27FC236}">
                <a16:creationId xmlns:a16="http://schemas.microsoft.com/office/drawing/2014/main" id="{ED868C45-5082-4168-9737-D52018575DA0}"/>
              </a:ext>
            </a:extLst>
          </p:cNvPr>
          <p:cNvSpPr txBox="1">
            <a:spLocks/>
          </p:cNvSpPr>
          <p:nvPr/>
        </p:nvSpPr>
        <p:spPr>
          <a:xfrm>
            <a:off x="6543678" y="1662112"/>
            <a:ext cx="5648322" cy="501495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b="1" dirty="0">
                <a:solidFill>
                  <a:srgbClr val="0070AD"/>
                </a:solidFill>
              </a:rPr>
              <a:t>3. Organization Chart</a:t>
            </a:r>
          </a:p>
          <a:p>
            <a:pPr lvl="1">
              <a:lnSpc>
                <a:spcPct val="150000"/>
              </a:lnSpc>
            </a:pPr>
            <a:r>
              <a:rPr lang="en-US" dirty="0"/>
              <a:t>Customer Functions</a:t>
            </a:r>
          </a:p>
          <a:p>
            <a:pPr lvl="1">
              <a:lnSpc>
                <a:spcPct val="150000"/>
              </a:lnSpc>
            </a:pPr>
            <a:r>
              <a:rPr lang="en-US" dirty="0"/>
              <a:t>Stakeholders/ Contacts</a:t>
            </a:r>
          </a:p>
          <a:p>
            <a:pPr lvl="1">
              <a:lnSpc>
                <a:spcPct val="150000"/>
              </a:lnSpc>
            </a:pPr>
            <a:r>
              <a:rPr lang="en-US" dirty="0"/>
              <a:t>Previous analysis/ interview minutes</a:t>
            </a:r>
          </a:p>
          <a:p>
            <a:pPr lvl="1">
              <a:lnSpc>
                <a:spcPct val="150000"/>
              </a:lnSpc>
            </a:pPr>
            <a:r>
              <a:rPr lang="en-US" dirty="0"/>
              <a:t>Pain points</a:t>
            </a:r>
          </a:p>
          <a:p>
            <a:pPr lvl="1">
              <a:lnSpc>
                <a:spcPct val="150000"/>
              </a:lnSpc>
            </a:pPr>
            <a:r>
              <a:rPr lang="en-US" dirty="0"/>
              <a:t>Existing needs/ use cases (backlog)</a:t>
            </a:r>
          </a:p>
          <a:p>
            <a:pPr marL="88900" lvl="1" indent="0">
              <a:lnSpc>
                <a:spcPct val="150000"/>
              </a:lnSpc>
              <a:buFont typeface="Wingdings" panose="05000000000000000000" pitchFamily="2" charset="2"/>
              <a:buNone/>
            </a:pPr>
            <a:endParaRPr lang="en-US" dirty="0"/>
          </a:p>
          <a:p>
            <a:pPr>
              <a:lnSpc>
                <a:spcPct val="150000"/>
              </a:lnSpc>
            </a:pPr>
            <a:r>
              <a:rPr lang="en-US" b="1" dirty="0">
                <a:solidFill>
                  <a:srgbClr val="0070AD"/>
                </a:solidFill>
              </a:rPr>
              <a:t>4. Journey Maps</a:t>
            </a:r>
          </a:p>
          <a:p>
            <a:pPr lvl="1">
              <a:lnSpc>
                <a:spcPct val="150000"/>
              </a:lnSpc>
            </a:pPr>
            <a:r>
              <a:rPr lang="en-US" dirty="0"/>
              <a:t>The ones created last year</a:t>
            </a:r>
          </a:p>
          <a:p>
            <a:pPr lvl="1">
              <a:lnSpc>
                <a:spcPct val="150000"/>
              </a:lnSpc>
            </a:pPr>
            <a:r>
              <a:rPr lang="en-US" dirty="0"/>
              <a:t>Supplements:</a:t>
            </a:r>
          </a:p>
          <a:p>
            <a:pPr lvl="2">
              <a:lnSpc>
                <a:spcPct val="150000"/>
              </a:lnSpc>
            </a:pPr>
            <a:r>
              <a:rPr lang="en-US" dirty="0"/>
              <a:t>Customer Touchpoints (all business functions that create, update, read, delete customer data)</a:t>
            </a:r>
          </a:p>
          <a:p>
            <a:pPr lvl="2">
              <a:lnSpc>
                <a:spcPct val="150000"/>
              </a:lnSpc>
            </a:pPr>
            <a:r>
              <a:rPr lang="en-US" dirty="0"/>
              <a:t>Customer Systems</a:t>
            </a:r>
          </a:p>
          <a:p>
            <a:pPr lvl="2">
              <a:lnSpc>
                <a:spcPct val="150000"/>
              </a:lnSpc>
            </a:pPr>
            <a:r>
              <a:rPr lang="en-US" dirty="0"/>
              <a:t>People/ organization that owns the touchpoint</a:t>
            </a:r>
          </a:p>
        </p:txBody>
      </p:sp>
      <p:sp>
        <p:nvSpPr>
          <p:cNvPr id="20" name="Title 3">
            <a:extLst>
              <a:ext uri="{FF2B5EF4-FFF2-40B4-BE49-F238E27FC236}">
                <a16:creationId xmlns:a16="http://schemas.microsoft.com/office/drawing/2014/main" id="{A28700A5-93F0-4091-BA69-4630D327CD04}"/>
              </a:ext>
            </a:extLst>
          </p:cNvPr>
          <p:cNvSpPr txBox="1">
            <a:spLocks/>
          </p:cNvSpPr>
          <p:nvPr/>
        </p:nvSpPr>
        <p:spPr>
          <a:xfrm>
            <a:off x="227349" y="919162"/>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Business</a:t>
            </a:r>
            <a:endParaRPr lang="en-US" b="1" dirty="0"/>
          </a:p>
        </p:txBody>
      </p:sp>
      <p:pic>
        <p:nvPicPr>
          <p:cNvPr id="43" name="Picture 42">
            <a:extLst>
              <a:ext uri="{FF2B5EF4-FFF2-40B4-BE49-F238E27FC236}">
                <a16:creationId xmlns:a16="http://schemas.microsoft.com/office/drawing/2014/main" id="{01E6E353-AA40-4E92-88AD-28F98148BA1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9068"/>
          <a:stretch/>
        </p:blipFill>
        <p:spPr>
          <a:xfrm>
            <a:off x="2111497" y="833646"/>
            <a:ext cx="785356" cy="714144"/>
          </a:xfrm>
          <a:prstGeom prst="rect">
            <a:avLst/>
          </a:prstGeom>
        </p:spPr>
      </p:pic>
    </p:spTree>
    <p:extLst>
      <p:ext uri="{BB962C8B-B14F-4D97-AF65-F5344CB8AC3E}">
        <p14:creationId xmlns:p14="http://schemas.microsoft.com/office/powerpoint/2010/main" val="2934040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Discovery documents / knowledge requested</a:t>
            </a:r>
            <a:endParaRPr lang="en-GB" dirty="0"/>
          </a:p>
        </p:txBody>
      </p:sp>
      <p:sp>
        <p:nvSpPr>
          <p:cNvPr id="9" name="Text Placeholder 8"/>
          <p:cNvSpPr>
            <a:spLocks noGrp="1"/>
          </p:cNvSpPr>
          <p:nvPr>
            <p:ph type="body" sz="quarter" idx="16"/>
          </p:nvPr>
        </p:nvSpPr>
        <p:spPr>
          <a:xfrm>
            <a:off x="304800" y="1524000"/>
            <a:ext cx="5943600" cy="4828709"/>
          </a:xfrm>
        </p:spPr>
        <p:txBody>
          <a:bodyPr/>
          <a:lstStyle/>
          <a:p>
            <a:pPr marL="88900" lvl="1" indent="0">
              <a:lnSpc>
                <a:spcPct val="150000"/>
              </a:lnSpc>
              <a:buNone/>
            </a:pPr>
            <a:r>
              <a:rPr lang="en-US" b="1" dirty="0">
                <a:solidFill>
                  <a:srgbClr val="0070AD"/>
                </a:solidFill>
              </a:rPr>
              <a:t>5. Architecture Overview/ Landscape</a:t>
            </a:r>
          </a:p>
          <a:p>
            <a:pPr marL="88900" lvl="1" indent="0">
              <a:lnSpc>
                <a:spcPct val="150000"/>
              </a:lnSpc>
              <a:buNone/>
            </a:pPr>
            <a:endParaRPr lang="en-US" b="1" dirty="0">
              <a:solidFill>
                <a:srgbClr val="0070AD"/>
              </a:solidFill>
            </a:endParaRPr>
          </a:p>
          <a:p>
            <a:pPr marL="88900" lvl="1" indent="0">
              <a:lnSpc>
                <a:spcPct val="150000"/>
              </a:lnSpc>
              <a:buNone/>
            </a:pPr>
            <a:r>
              <a:rPr lang="en-US" b="1" dirty="0">
                <a:solidFill>
                  <a:srgbClr val="0070AD"/>
                </a:solidFill>
              </a:rPr>
              <a:t>6. Customer Systems</a:t>
            </a:r>
          </a:p>
          <a:p>
            <a:pPr lvl="1">
              <a:lnSpc>
                <a:spcPct val="150000"/>
              </a:lnSpc>
            </a:pPr>
            <a:r>
              <a:rPr lang="en-US" dirty="0"/>
              <a:t>Process Documentation</a:t>
            </a:r>
          </a:p>
          <a:p>
            <a:pPr lvl="1">
              <a:lnSpc>
                <a:spcPct val="150000"/>
              </a:lnSpc>
            </a:pPr>
            <a:r>
              <a:rPr lang="en-US" dirty="0"/>
              <a:t>Data Model</a:t>
            </a:r>
          </a:p>
          <a:p>
            <a:pPr>
              <a:lnSpc>
                <a:spcPct val="150000"/>
              </a:lnSpc>
            </a:pPr>
            <a:endParaRPr lang="en-GB" dirty="0"/>
          </a:p>
          <a:p>
            <a:pPr lvl="0">
              <a:lnSpc>
                <a:spcPct val="150000"/>
              </a:lnSpc>
            </a:pPr>
            <a:r>
              <a:rPr lang="en-US" b="1" dirty="0">
                <a:solidFill>
                  <a:srgbClr val="0070AD"/>
                </a:solidFill>
              </a:rPr>
              <a:t>7. Enterprise Architecture (customer focus)</a:t>
            </a:r>
          </a:p>
          <a:p>
            <a:pPr lvl="1">
              <a:lnSpc>
                <a:spcPct val="150000"/>
              </a:lnSpc>
            </a:pPr>
            <a:r>
              <a:rPr lang="en-US" dirty="0"/>
              <a:t>Data Integration Architecture/ Documentation</a:t>
            </a:r>
          </a:p>
          <a:p>
            <a:pPr lvl="2">
              <a:lnSpc>
                <a:spcPct val="150000"/>
              </a:lnSpc>
            </a:pPr>
            <a:r>
              <a:rPr lang="en-US" dirty="0"/>
              <a:t>Point to Point</a:t>
            </a:r>
          </a:p>
          <a:p>
            <a:pPr lvl="2">
              <a:lnSpc>
                <a:spcPct val="150000"/>
              </a:lnSpc>
            </a:pPr>
            <a:r>
              <a:rPr lang="en-US" dirty="0"/>
              <a:t>ETL System/ architecture</a:t>
            </a:r>
          </a:p>
          <a:p>
            <a:pPr lvl="2">
              <a:lnSpc>
                <a:spcPct val="150000"/>
              </a:lnSpc>
            </a:pPr>
            <a:r>
              <a:rPr lang="en-US" dirty="0"/>
              <a:t>Data Extracts &amp; Data Flows</a:t>
            </a:r>
          </a:p>
          <a:p>
            <a:pPr lvl="1">
              <a:lnSpc>
                <a:spcPct val="150000"/>
              </a:lnSpc>
            </a:pPr>
            <a:r>
              <a:rPr lang="en-US" dirty="0"/>
              <a:t>ESB/ SOA/ API Documentation</a:t>
            </a:r>
          </a:p>
          <a:p>
            <a:pPr lvl="1">
              <a:lnSpc>
                <a:spcPct val="150000"/>
              </a:lnSpc>
            </a:pPr>
            <a:r>
              <a:rPr lang="en-US" dirty="0"/>
              <a:t>Architecture Governance</a:t>
            </a:r>
          </a:p>
          <a:p>
            <a:pPr lvl="2">
              <a:lnSpc>
                <a:spcPct val="150000"/>
              </a:lnSpc>
            </a:pPr>
            <a:r>
              <a:rPr lang="en-US" dirty="0"/>
              <a:t>Boards / Approval Process</a:t>
            </a:r>
          </a:p>
          <a:p>
            <a:pPr lvl="2">
              <a:lnSpc>
                <a:spcPct val="150000"/>
              </a:lnSpc>
            </a:pPr>
            <a:r>
              <a:rPr lang="en-US" dirty="0"/>
              <a:t>Principles</a:t>
            </a:r>
          </a:p>
          <a:p>
            <a:pPr lvl="2">
              <a:lnSpc>
                <a:spcPct val="150000"/>
              </a:lnSpc>
            </a:pPr>
            <a:endParaRPr lang="en-US" dirty="0"/>
          </a:p>
          <a:p>
            <a:pPr>
              <a:lnSpc>
                <a:spcPct val="150000"/>
              </a:lnSpc>
            </a:pPr>
            <a:endParaRPr lang="en-GB" dirty="0"/>
          </a:p>
          <a:p>
            <a:pPr>
              <a:lnSpc>
                <a:spcPct val="150000"/>
              </a:lnSpc>
            </a:pPr>
            <a:endParaRPr lang="en-GB" dirty="0"/>
          </a:p>
          <a:p>
            <a:pPr>
              <a:lnSpc>
                <a:spcPct val="150000"/>
              </a:lnSpc>
            </a:pPr>
            <a:endParaRPr lang="en-GB" dirty="0"/>
          </a:p>
        </p:txBody>
      </p:sp>
      <p:sp>
        <p:nvSpPr>
          <p:cNvPr id="12" name="Text Placeholder 8">
            <a:extLst>
              <a:ext uri="{FF2B5EF4-FFF2-40B4-BE49-F238E27FC236}">
                <a16:creationId xmlns:a16="http://schemas.microsoft.com/office/drawing/2014/main" id="{7AD75D9B-5790-4167-B441-38B06A7413FD}"/>
              </a:ext>
            </a:extLst>
          </p:cNvPr>
          <p:cNvSpPr txBox="1">
            <a:spLocks/>
          </p:cNvSpPr>
          <p:nvPr/>
        </p:nvSpPr>
        <p:spPr>
          <a:xfrm>
            <a:off x="6629400" y="1524001"/>
            <a:ext cx="5029200" cy="40762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50000"/>
              </a:lnSpc>
            </a:pPr>
            <a:r>
              <a:rPr lang="en-US" b="1" dirty="0">
                <a:solidFill>
                  <a:srgbClr val="0070AD"/>
                </a:solidFill>
              </a:rPr>
              <a:t>8. Data Stores</a:t>
            </a:r>
          </a:p>
          <a:p>
            <a:pPr lvl="1">
              <a:lnSpc>
                <a:spcPct val="150000"/>
              </a:lnSpc>
            </a:pPr>
            <a:r>
              <a:rPr lang="en-US" dirty="0"/>
              <a:t>EDW/ Data Lake</a:t>
            </a:r>
          </a:p>
          <a:p>
            <a:pPr lvl="1">
              <a:lnSpc>
                <a:spcPct val="150000"/>
              </a:lnSpc>
            </a:pPr>
            <a:r>
              <a:rPr lang="en-US" dirty="0"/>
              <a:t>Data Marts</a:t>
            </a:r>
          </a:p>
          <a:p>
            <a:pPr lvl="1">
              <a:lnSpc>
                <a:spcPct val="150000"/>
              </a:lnSpc>
            </a:pPr>
            <a:endParaRPr lang="en-US" dirty="0"/>
          </a:p>
          <a:p>
            <a:pPr lvl="0">
              <a:lnSpc>
                <a:spcPct val="150000"/>
              </a:lnSpc>
            </a:pPr>
            <a:r>
              <a:rPr lang="en-US" b="1" dirty="0">
                <a:solidFill>
                  <a:srgbClr val="0070AD"/>
                </a:solidFill>
              </a:rPr>
              <a:t>9. Data Governance</a:t>
            </a:r>
          </a:p>
          <a:p>
            <a:pPr lvl="1">
              <a:lnSpc>
                <a:spcPct val="150000"/>
              </a:lnSpc>
            </a:pPr>
            <a:r>
              <a:rPr lang="en-US" dirty="0"/>
              <a:t>Existing data governance organization/ processes/ rules</a:t>
            </a:r>
          </a:p>
          <a:p>
            <a:pPr lvl="1">
              <a:lnSpc>
                <a:spcPct val="150000"/>
              </a:lnSpc>
            </a:pPr>
            <a:r>
              <a:rPr lang="en-US" dirty="0"/>
              <a:t>Tools</a:t>
            </a:r>
          </a:p>
          <a:p>
            <a:pPr lvl="2">
              <a:lnSpc>
                <a:spcPct val="150000"/>
              </a:lnSpc>
            </a:pPr>
            <a:r>
              <a:rPr lang="en-US" dirty="0"/>
              <a:t>MDM</a:t>
            </a:r>
          </a:p>
          <a:p>
            <a:pPr lvl="2">
              <a:lnSpc>
                <a:spcPct val="150000"/>
              </a:lnSpc>
            </a:pPr>
            <a:r>
              <a:rPr lang="en-US" dirty="0"/>
              <a:t>DQ</a:t>
            </a:r>
          </a:p>
          <a:p>
            <a:pPr lvl="2">
              <a:lnSpc>
                <a:spcPct val="150000"/>
              </a:lnSpc>
            </a:pPr>
            <a:r>
              <a:rPr lang="en-US" dirty="0"/>
              <a:t>Any reporting/ KPIs</a:t>
            </a:r>
          </a:p>
          <a:p>
            <a:pPr lvl="1">
              <a:lnSpc>
                <a:spcPct val="150000"/>
              </a:lnSpc>
            </a:pPr>
            <a:r>
              <a:rPr lang="en-US" dirty="0"/>
              <a:t>Any frameworks used today:  DAMA, CRUD etc.</a:t>
            </a:r>
          </a:p>
          <a:p>
            <a:pPr lvl="1">
              <a:lnSpc>
                <a:spcPct val="150000"/>
              </a:lnSpc>
            </a:pPr>
            <a:r>
              <a:rPr lang="en-US" dirty="0"/>
              <a:t>Existing reports, data profiles etc.</a:t>
            </a:r>
          </a:p>
        </p:txBody>
      </p:sp>
      <p:sp>
        <p:nvSpPr>
          <p:cNvPr id="17" name="Title 3">
            <a:extLst>
              <a:ext uri="{FF2B5EF4-FFF2-40B4-BE49-F238E27FC236}">
                <a16:creationId xmlns:a16="http://schemas.microsoft.com/office/drawing/2014/main" id="{B67B31AF-C06A-4DF0-8366-2088EC4234D9}"/>
              </a:ext>
            </a:extLst>
          </p:cNvPr>
          <p:cNvSpPr txBox="1">
            <a:spLocks/>
          </p:cNvSpPr>
          <p:nvPr/>
        </p:nvSpPr>
        <p:spPr>
          <a:xfrm>
            <a:off x="227349" y="919162"/>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Technical</a:t>
            </a:r>
            <a:endParaRPr lang="en-US" b="1" dirty="0"/>
          </a:p>
        </p:txBody>
      </p:sp>
      <p:pic>
        <p:nvPicPr>
          <p:cNvPr id="18" name="Picture 2" descr="Priority">
            <a:extLst>
              <a:ext uri="{FF2B5EF4-FFF2-40B4-BE49-F238E27FC236}">
                <a16:creationId xmlns:a16="http://schemas.microsoft.com/office/drawing/2014/main" id="{57264C86-0DAC-4664-AFEB-A5E1BBDBAE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4851" y="919162"/>
            <a:ext cx="617636" cy="617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085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Discovery documents / knowledge requested</a:t>
            </a:r>
            <a:endParaRPr lang="en-GB" dirty="0"/>
          </a:p>
        </p:txBody>
      </p:sp>
      <p:sp>
        <p:nvSpPr>
          <p:cNvPr id="9" name="Text Placeholder 8"/>
          <p:cNvSpPr>
            <a:spLocks noGrp="1"/>
          </p:cNvSpPr>
          <p:nvPr>
            <p:ph type="body" sz="quarter" idx="16"/>
          </p:nvPr>
        </p:nvSpPr>
        <p:spPr>
          <a:xfrm>
            <a:off x="304800" y="1724491"/>
            <a:ext cx="4648200" cy="4076234"/>
          </a:xfrm>
        </p:spPr>
        <p:txBody>
          <a:bodyPr/>
          <a:lstStyle/>
          <a:p>
            <a:pPr lvl="0">
              <a:lnSpc>
                <a:spcPct val="150000"/>
              </a:lnSpc>
            </a:pPr>
            <a:r>
              <a:rPr lang="en-US" b="1" dirty="0">
                <a:solidFill>
                  <a:srgbClr val="0070AD"/>
                </a:solidFill>
              </a:rPr>
              <a:t>10. Interview List</a:t>
            </a:r>
          </a:p>
          <a:p>
            <a:pPr lvl="1">
              <a:lnSpc>
                <a:spcPct val="150000"/>
              </a:lnSpc>
            </a:pPr>
            <a:r>
              <a:rPr lang="en-US" dirty="0"/>
              <a:t>Project Stakeholders/ participants</a:t>
            </a:r>
          </a:p>
          <a:p>
            <a:pPr lvl="1">
              <a:lnSpc>
                <a:spcPct val="150000"/>
              </a:lnSpc>
            </a:pPr>
            <a:r>
              <a:rPr lang="en-US" dirty="0"/>
              <a:t>IT Stakeholders</a:t>
            </a:r>
          </a:p>
          <a:p>
            <a:pPr lvl="1">
              <a:lnSpc>
                <a:spcPct val="150000"/>
              </a:lnSpc>
            </a:pPr>
            <a:r>
              <a:rPr lang="en-US" dirty="0"/>
              <a:t>Business Stakeholders (we typically interact with 20-30 business stakeholders, but will evaluate to pare down based on existing artifacts) </a:t>
            </a:r>
          </a:p>
          <a:p>
            <a:pPr marL="88900" lvl="1" indent="0">
              <a:lnSpc>
                <a:spcPct val="150000"/>
              </a:lnSpc>
              <a:buNone/>
            </a:pPr>
            <a:endParaRPr lang="en-GB" dirty="0"/>
          </a:p>
        </p:txBody>
      </p:sp>
      <p:sp>
        <p:nvSpPr>
          <p:cNvPr id="12" name="Text Placeholder 8">
            <a:extLst>
              <a:ext uri="{FF2B5EF4-FFF2-40B4-BE49-F238E27FC236}">
                <a16:creationId xmlns:a16="http://schemas.microsoft.com/office/drawing/2014/main" id="{7AD75D9B-5790-4167-B441-38B06A7413FD}"/>
              </a:ext>
            </a:extLst>
          </p:cNvPr>
          <p:cNvSpPr txBox="1">
            <a:spLocks/>
          </p:cNvSpPr>
          <p:nvPr/>
        </p:nvSpPr>
        <p:spPr>
          <a:xfrm>
            <a:off x="6629400" y="1724491"/>
            <a:ext cx="5029200" cy="40762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50000"/>
              </a:lnSpc>
            </a:pPr>
            <a:r>
              <a:rPr lang="en-US" b="1" dirty="0">
                <a:solidFill>
                  <a:srgbClr val="0070AD"/>
                </a:solidFill>
              </a:rPr>
              <a:t>11. System Access</a:t>
            </a:r>
          </a:p>
          <a:p>
            <a:pPr lvl="1">
              <a:lnSpc>
                <a:spcPct val="150000"/>
              </a:lnSpc>
            </a:pPr>
            <a:r>
              <a:rPr lang="en-US" dirty="0"/>
              <a:t>Network/ User ID</a:t>
            </a:r>
          </a:p>
          <a:p>
            <a:pPr lvl="1">
              <a:lnSpc>
                <a:spcPct val="150000"/>
              </a:lnSpc>
            </a:pPr>
            <a:r>
              <a:rPr lang="en-US" dirty="0"/>
              <a:t>Calendar/ Scheduling</a:t>
            </a:r>
          </a:p>
          <a:p>
            <a:pPr lvl="1">
              <a:lnSpc>
                <a:spcPct val="150000"/>
              </a:lnSpc>
            </a:pPr>
            <a:r>
              <a:rPr lang="en-US" dirty="0"/>
              <a:t>Video Conferencing</a:t>
            </a:r>
          </a:p>
          <a:p>
            <a:pPr lvl="1">
              <a:lnSpc>
                <a:spcPct val="150000"/>
              </a:lnSpc>
            </a:pPr>
            <a:r>
              <a:rPr lang="en-US" dirty="0"/>
              <a:t>SharePoint (what do we want to use as project repository)</a:t>
            </a:r>
          </a:p>
          <a:p>
            <a:pPr lvl="1">
              <a:lnSpc>
                <a:spcPct val="150000"/>
              </a:lnSpc>
            </a:pPr>
            <a:r>
              <a:rPr lang="en-US" dirty="0"/>
              <a:t>JIRA</a:t>
            </a:r>
          </a:p>
          <a:p>
            <a:pPr lvl="1">
              <a:lnSpc>
                <a:spcPct val="150000"/>
              </a:lnSpc>
            </a:pPr>
            <a:r>
              <a:rPr lang="en-US" dirty="0"/>
              <a:t>Key systems for data profiling</a:t>
            </a:r>
          </a:p>
        </p:txBody>
      </p:sp>
      <p:sp>
        <p:nvSpPr>
          <p:cNvPr id="8" name="Title 3">
            <a:extLst>
              <a:ext uri="{FF2B5EF4-FFF2-40B4-BE49-F238E27FC236}">
                <a16:creationId xmlns:a16="http://schemas.microsoft.com/office/drawing/2014/main" id="{6CF84605-B352-4748-9B0E-890CDFE7F4C7}"/>
              </a:ext>
            </a:extLst>
          </p:cNvPr>
          <p:cNvSpPr txBox="1">
            <a:spLocks/>
          </p:cNvSpPr>
          <p:nvPr/>
        </p:nvSpPr>
        <p:spPr>
          <a:xfrm>
            <a:off x="227349" y="919162"/>
            <a:ext cx="1830051" cy="74295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400" b="1" dirty="0"/>
              <a:t>Admin</a:t>
            </a:r>
            <a:endParaRPr lang="en-US" b="1" dirty="0"/>
          </a:p>
        </p:txBody>
      </p:sp>
      <p:pic>
        <p:nvPicPr>
          <p:cNvPr id="25" name="Picture 16" descr="Writer">
            <a:extLst>
              <a:ext uri="{FF2B5EF4-FFF2-40B4-BE49-F238E27FC236}">
                <a16:creationId xmlns:a16="http://schemas.microsoft.com/office/drawing/2014/main" id="{5EF29B0B-1086-4297-B5E5-D7990194F3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3757" y="783636"/>
            <a:ext cx="767285" cy="767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08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wuAIerkmEWlPEVL6bEn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IFA6m1tfUGDsnhTlFaP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442AE69FD9C247BF159BA72592E5EE" ma:contentTypeVersion="4" ma:contentTypeDescription="Create a new document." ma:contentTypeScope="" ma:versionID="9bca334d809107c41a0e0d5d865693d2">
  <xsd:schema xmlns:xsd="http://www.w3.org/2001/XMLSchema" xmlns:xs="http://www.w3.org/2001/XMLSchema" xmlns:p="http://schemas.microsoft.com/office/2006/metadata/properties" xmlns:ns2="b60ea61c-41cb-41c2-abfd-6b4bd32913a9" targetNamespace="http://schemas.microsoft.com/office/2006/metadata/properties" ma:root="true" ma:fieldsID="a8b923bb580f9f17d3b833a08d2cbb6e" ns2:_="">
    <xsd:import namespace="b60ea61c-41cb-41c2-abfd-6b4bd32913a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0ea61c-41cb-41c2-abfd-6b4bd32913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AB52E8-8EF0-4FCC-A07B-71289355011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D24AF96-46BF-4FE5-98BE-307E6035DB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0ea61c-41cb-41c2-abfd-6b4bd32913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BCA301-45F2-43EC-B8FE-678ED9983C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4548</TotalTime>
  <Words>345</Words>
  <Application>Microsoft Office PowerPoint</Application>
  <PresentationFormat>Widescreen</PresentationFormat>
  <Paragraphs>84</Paragraphs>
  <Slides>6</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Calibri Light</vt:lpstr>
      <vt:lpstr>Verdana</vt:lpstr>
      <vt:lpstr>Wingdings</vt:lpstr>
      <vt:lpstr>Capgemini Master</vt:lpstr>
      <vt:lpstr>Custom Design</vt:lpstr>
      <vt:lpstr>Cover options</vt:lpstr>
      <vt:lpstr>Final slides</vt:lpstr>
      <vt:lpstr>think-cell Slide</vt:lpstr>
      <vt:lpstr>Data Strategy Discovery Documents</vt:lpstr>
      <vt:lpstr>Discovery documents / knowledge requested</vt:lpstr>
      <vt:lpstr>Discovery documents / knowledge requested</vt:lpstr>
      <vt:lpstr>Discovery documents / knowledge requested</vt:lpstr>
      <vt:lpstr>Discovery documents / knowledge requested</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ote, Charles E</dc:creator>
  <cp:lastModifiedBy>Reynolds, Morgan W</cp:lastModifiedBy>
  <cp:revision>4</cp:revision>
  <dcterms:created xsi:type="dcterms:W3CDTF">2019-08-09T17:56:15Z</dcterms:created>
  <dcterms:modified xsi:type="dcterms:W3CDTF">2020-06-01T00:2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442AE69FD9C247BF159BA72592E5EE</vt:lpwstr>
  </property>
</Properties>
</file>